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</p:sldMasterIdLst>
  <p:notesMasterIdLst>
    <p:notesMasterId r:id="rId48"/>
  </p:notesMasterIdLst>
  <p:handoutMasterIdLst>
    <p:handoutMasterId r:id="rId49"/>
  </p:handoutMasterIdLst>
  <p:sldIdLst>
    <p:sldId id="256" r:id="rId27"/>
    <p:sldId id="3536" r:id="rId28"/>
    <p:sldId id="3506" r:id="rId29"/>
    <p:sldId id="5064" r:id="rId30"/>
    <p:sldId id="864" r:id="rId31"/>
    <p:sldId id="5065" r:id="rId32"/>
    <p:sldId id="3521" r:id="rId33"/>
    <p:sldId id="5066" r:id="rId34"/>
    <p:sldId id="5079" r:id="rId35"/>
    <p:sldId id="5127" r:id="rId36"/>
    <p:sldId id="5130" r:id="rId37"/>
    <p:sldId id="5110" r:id="rId38"/>
    <p:sldId id="5131" r:id="rId39"/>
    <p:sldId id="5132" r:id="rId40"/>
    <p:sldId id="5134" r:id="rId41"/>
    <p:sldId id="5070" r:id="rId42"/>
    <p:sldId id="5026" r:id="rId43"/>
    <p:sldId id="5068" r:id="rId44"/>
    <p:sldId id="3494" r:id="rId45"/>
    <p:sldId id="5069" r:id="rId46"/>
    <p:sldId id="5057" r:id="rId47"/>
  </p:sldIdLst>
  <p:sldSz cx="12192000" cy="6858000"/>
  <p:notesSz cx="7315200" cy="96012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D3DD46-5058-4949-9AA0-F2BF950AB391}">
          <p14:sldIdLst>
            <p14:sldId id="256"/>
            <p14:sldId id="3536"/>
            <p14:sldId id="3506"/>
            <p14:sldId id="5064"/>
            <p14:sldId id="864"/>
            <p14:sldId id="5065"/>
            <p14:sldId id="3521"/>
            <p14:sldId id="5066"/>
            <p14:sldId id="5079"/>
            <p14:sldId id="5127"/>
            <p14:sldId id="5130"/>
            <p14:sldId id="5110"/>
            <p14:sldId id="5131"/>
            <p14:sldId id="5132"/>
            <p14:sldId id="5134"/>
            <p14:sldId id="5070"/>
          </p14:sldIdLst>
        </p14:section>
        <p14:section name="Default Section" id="{8947494E-A868-4968-9E33-99FE4EC708E8}">
          <p14:sldIdLst>
            <p14:sldId id="5026"/>
            <p14:sldId id="5068"/>
            <p14:sldId id="3494"/>
            <p14:sldId id="5069"/>
            <p14:sldId id="5057"/>
          </p14:sldIdLst>
        </p14:section>
      </p14:sectionLst>
    </p:ex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FF"/>
    <a:srgbClr val="014693"/>
    <a:srgbClr val="004F8B"/>
    <a:srgbClr val="000000"/>
    <a:srgbClr val="92D050"/>
    <a:srgbClr val="0166CB"/>
    <a:srgbClr val="ED8013"/>
    <a:srgbClr val="A3B3D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BCB975-9BE9-47BF-B401-D8A0C948E7B3}" v="21" dt="2021-04-08T09:29:11.795"/>
    <p1510:client id="{9D96A01A-CCC6-4EAB-8A64-A381FC5C1F4F}" v="48" dt="2021-04-08T14:09:18.081"/>
    <p1510:client id="{CECAA917-0AC8-44E3-B45B-EDD0E151C685}" v="24" dt="2021-04-07T07:25:38.340"/>
    <p1510:client id="{DD2EF56A-8957-4FB9-BB95-701E1216C859}" vWet="54" dt="2021-04-07T08:33:20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78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tags" Target="tags/tag1.xml"/><Relationship Id="rId55" Type="http://schemas.microsoft.com/office/2015/10/relationships/revisionInfo" Target="revisionInfo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9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063"/>
    </inkml:context>
    <inkml:brush xml:id="br0">
      <inkml:brushProperty name="width" value="0.20285" units="cm"/>
      <inkml:brushProperty name="height" value="0.20285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596,'4'0,"5"-3,10-2,8-3,11-4,14-4,10-7,10-2,6-5,5-3,4 0,1-1,1 1,3 1,1 3,3 3,2 5,0 5,0 7,0 5,0 6,-2 8,-2 7,-2 7,-6 7,-5 3,-5 8,-7 2,-5 4,-6 2,-4 1,-3 0,-3-3,-1 0,-1-4,1 0,-2-4,-1-4,0-2,2-3,-1-4,0-5,1-4,0-9,0-5,-1-7,-1-7,-3-6,-5-6,-4-2,-4-4,-8-1,-6-2,-5-3,-8-5,-5-10,-8-13,-10-11,-8-10,-6-2,-5 1,-3 7,-1 6,-1 11,1 11,0 13,-1 8,2 13,2 11,0 11,1 9,4 6,5 9,6 5,6 4,7 3,8 3,9 8,10 6,10 5,14 4,10 1,10-6,10-6,7-8,4-9,5-8,2-7,4-9,2-5,2-5,1-6,2-2,2-3,1-3,1-1,-1 0,3 0,-2 0,1 0,-1 0,-1 1,0-2,-1 0,-1-5,1-3,-2-6,1-6,-4-6,0-5,-4-6,-3-2,-6-3,-3 0,-6 3,-6 3,-6 5,-5 7,-7 9,-5 6,-5 12,-2 10,0 14,-1 16,-3 14,-3 14,-3 12,-8 4,-4 8,-9 0,-5 2,-7-1,-1-6,-2-11,0-13,2-13,0-12,4-9,0-11,0-10,-1-8,-3-14,-7-18,-5-20,-12-20,-8-12,-12-9,-8 2,-8 7,-6 12,-4 12,1 16,-2 12,6 14,2 11,6 9,4 9,5 9,5 10,4 8,7 9,7 10,6 5,6 8,8 4,7 2,6 5,11 5,8 5,10 1,8-1,11-6,10-9,4-10,8-10,2-13,2-9,2-9,0-9,4-10,0-9,6-12,2-11,2-11,2-6,0-7,-1-2,-3 0,-5 6,-5 4,-4 8,-6 8,-7 8,-4 8,-6 4,-6 6,-5 4,-4 2,-4 0,-5 2,-4 1,-5-2,-3 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1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4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801 1,'0'0,"10"7,18 10,1-1,2-1,-1-2,1-1,1-1,16 2,63 12,29 1,-56-13,60 14,0 6,-2 6,112 49,-178-56,0 4,-4 1,0 4,-2 5,-2 0,-2 5,31 32,-65-51,-1 1,-3 2,0-1,-3 4,-1-2,-1 4,6 16,0 9,-3 2,-4-1,-2 2,2 24,134 590,-140-609,-3 0,-2 1,-2 47,-8-84,-2 1,-2-2,-1 0,-2 0,-1 0,-2 0,-2-2,-6 14,5-18,0-2,-3-2,-1 1,-1 0,-1-3,0 1,-2-2,-2 1,-4 1,-4 2,0-3,-2 0,-3-2,2 0,-3-4,-32 14,-32 7,0-4,-86 17,-212 32,150-35,-8 14,130-25,0 6,-116 60,154-60,2 6,3 0,2 6,-27 26,72-50,0 2,4 2,0 2,1-1,3 2,1 2,2 2,2 1,-15 34,2 4,4 0,-20 85,44-131,1 1,2 1,1 6,1-23,-10 219,10 83,3-205,0-118,0 6,-1-6,-2-4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5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1 1,'18'3,"-34"-6,14 8,2 1,0-1,-1 2,2-3,-1 1,2 2,-2-3,1 2,24 94,5-2,3-1,12 15,-15-37,6 17,10 32,6-3,27 42,-78-161,1 0,-2 0,0 0,1-1,0 2,1-2,-1 2,0-3,1 2,-1 0,0-1,1 0,-1 1,2-1,-3 0,2 1,0-2,0 1,0 0,-1 1,2-2,-2 0,2 1,-2-1,2 1,-2-1,2 0,-1 0,0 0,0 0,0 0,0 0,5-4,0 2,1-2,-3 0,2 0,-1-2,0 1,0 0,2-3,-6 8,394-372,-327 312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7T12:24:39.30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7T12:24:39.30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447"/>
    </inkml:context>
    <inkml:brush xml:id="br0">
      <inkml:brushProperty name="width" value="0.1" units="cm"/>
      <inkml:brushProperty name="height" value="0.6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1,'0'0,"0"0,3 3,5 5,8 8,12 10,12 8,6 6,5 4,0 0,-7-2,-7-3,-8-4,-10-6,-7-2,-9 1,-9 4,-12 12,-18 16,-16 18,0-3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4T14:22:09.56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4T14:22:09.56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6T09:28:24.7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6T09:28:24.74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4.70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5.798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39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a er lønn og lønnsnær HR? (Eva)</a:t>
            </a:r>
            <a:br>
              <a:rPr lang="nb-NO"/>
            </a:br>
            <a:r>
              <a:rPr lang="nb-NO"/>
              <a:t>Hvem har deltatt (Ev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032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2B9380-F281-4D6C-8840-6EA95F8EE5C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8097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024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4104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37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08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213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*) Det finnes også andre navn som beskriver samme metodikk og også forskjellige tilnærminger i forhold til f.eks. antall dager for gjennomføring.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64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ristin Overvik – prosessleder BTB, Økonomiavdelingen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76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entrale roller i BTB-prosess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531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378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tags" Target="../tags/tag9.xml"/><Relationship Id="rId21" Type="http://schemas.openxmlformats.org/officeDocument/2006/relationships/image" Target="../media/image27.png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8.xml"/><Relationship Id="rId16" Type="http://schemas.openxmlformats.org/officeDocument/2006/relationships/image" Target="../media/image23.png"/><Relationship Id="rId20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2.png"/><Relationship Id="rId23" Type="http://schemas.openxmlformats.org/officeDocument/2006/relationships/image" Target="../media/image29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Relationship Id="rId14" Type="http://schemas.openxmlformats.org/officeDocument/2006/relationships/image" Target="../media/image21.png"/><Relationship Id="rId22" Type="http://schemas.openxmlformats.org/officeDocument/2006/relationships/image" Target="../media/image2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8596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02862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779527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55241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9E4930C1-168A-4517-9B86-B90FA20F3CE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415768" y="3307143"/>
            <a:ext cx="3496472" cy="1437552"/>
          </a:xfrm>
          <a:prstGeom prst="rect">
            <a:avLst/>
          </a:prstGeom>
        </p:spPr>
        <p:txBody>
          <a:bodyPr>
            <a:noAutofit/>
          </a:bodyPr>
          <a:lstStyle>
            <a:lvl1pPr marL="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359991" indent="-179996">
              <a:buFont typeface="+mj-lt"/>
              <a:buAutoNum type="alphaLcParenR"/>
              <a:defRPr sz="700"/>
            </a:lvl3pPr>
            <a:lvl4pPr marL="539987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792482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Behov til Betal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B9F8B5-E0B8-4229-A3EE-C399414AAB39}"/>
              </a:ext>
            </a:extLst>
          </p:cNvPr>
          <p:cNvCxnSpPr/>
          <p:nvPr userDrawn="1"/>
        </p:nvCxnSpPr>
        <p:spPr>
          <a:xfrm>
            <a:off x="8372305" y="3063241"/>
            <a:ext cx="358001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198487032"/>
              </p:ext>
            </p:extLst>
          </p:nvPr>
        </p:nvGraphicFramePr>
        <p:xfrm>
          <a:off x="8674902" y="1006784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 Innkjø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rekvi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Innkjøp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Anskaffelse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Leveransebekre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kturaflytoppføl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Leverandørvedlikehol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68613" y="2451106"/>
            <a:ext cx="125412" cy="1605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CEF3A5-8109-48F8-8EE3-9C8D183E44A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76136" y="2849748"/>
            <a:ext cx="110363" cy="18209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59594022"/>
              </p:ext>
            </p:extLst>
          </p:nvPr>
        </p:nvGraphicFramePr>
        <p:xfrm>
          <a:off x="10335245" y="1016906"/>
          <a:ext cx="1705872" cy="20423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335280">
                <a:tc>
                  <a:txBody>
                    <a:bodyPr/>
                    <a:lstStyle/>
                    <a:p>
                      <a:r>
                        <a:rPr lang="nb-NO" sz="800"/>
                        <a:t>Innførselsmerverdiavgifts- og tolloppføl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Remitterer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Remitteringsgodkjenner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atalog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Innkjøpskontrol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System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ruker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sp>
        <p:nvSpPr>
          <p:cNvPr id="38" name="Tittel 1">
            <a:extLst>
              <a:ext uri="{FF2B5EF4-FFF2-40B4-BE49-F238E27FC236}">
                <a16:creationId xmlns:a16="http://schemas.microsoft.com/office/drawing/2014/main" id="{CD7A9D41-47A4-41DF-8F7C-2655BAF8573F}"/>
              </a:ext>
            </a:extLst>
          </p:cNvPr>
          <p:cNvSpPr txBox="1">
            <a:spLocks/>
          </p:cNvSpPr>
          <p:nvPr userDrawn="1"/>
        </p:nvSpPr>
        <p:spPr>
          <a:xfrm>
            <a:off x="8375688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Fordeler:</a:t>
            </a:r>
          </a:p>
        </p:txBody>
      </p:sp>
      <p:sp>
        <p:nvSpPr>
          <p:cNvPr id="41" name="Tittel 1">
            <a:extLst>
              <a:ext uri="{FF2B5EF4-FFF2-40B4-BE49-F238E27FC236}">
                <a16:creationId xmlns:a16="http://schemas.microsoft.com/office/drawing/2014/main" id="{8E6C6851-462C-4FDF-8868-8AD4AFC4628C}"/>
              </a:ext>
            </a:extLst>
          </p:cNvPr>
          <p:cNvSpPr txBox="1">
            <a:spLocks/>
          </p:cNvSpPr>
          <p:nvPr userDrawn="1"/>
        </p:nvSpPr>
        <p:spPr>
          <a:xfrm>
            <a:off x="8415767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:</a:t>
            </a:r>
          </a:p>
        </p:txBody>
      </p:sp>
      <p:sp>
        <p:nvSpPr>
          <p:cNvPr id="47" name="Plassholder for innhold 2">
            <a:extLst>
              <a:ext uri="{FF2B5EF4-FFF2-40B4-BE49-F238E27FC236}">
                <a16:creationId xmlns:a16="http://schemas.microsoft.com/office/drawing/2014/main" id="{3D4CA0A7-73DD-477B-A170-78114B35E20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15767" y="4988595"/>
            <a:ext cx="3496473" cy="1437552"/>
          </a:xfrm>
          <a:prstGeom prst="rect">
            <a:avLst/>
          </a:prstGeom>
        </p:spPr>
        <p:txBody>
          <a:bodyPr>
            <a:noAutofit/>
          </a:bodyPr>
          <a:lstStyle>
            <a:lvl1pPr marL="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359991" indent="-179996">
              <a:buFont typeface="+mj-lt"/>
              <a:buAutoNum type="alphaLcParenR"/>
              <a:defRPr sz="700"/>
            </a:lvl3pPr>
            <a:lvl4pPr marL="539987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63032" y="956694"/>
            <a:ext cx="212555" cy="22543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23741D4-B576-479C-9E12-60F95DA7084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463032" y="1198159"/>
            <a:ext cx="212555" cy="22543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F911982-8A96-4A65-876F-182FEB53A5F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481476" y="1439624"/>
            <a:ext cx="175667" cy="18631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08FD6AF-158D-4C6D-8188-8921EDCE1C6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481478" y="1641964"/>
            <a:ext cx="175665" cy="186312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C371ECFA-F7E9-4AE2-9A48-9D1E81835F7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34701" y="1044845"/>
            <a:ext cx="193232" cy="20494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CF21BB0-C5E9-40B0-9503-ABA8F359C6F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481478" y="2301087"/>
            <a:ext cx="175665" cy="186312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7C98A99-B77B-4CD1-AFE2-5646C02C544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63032" y="2503428"/>
            <a:ext cx="212555" cy="22543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1E512BE-5C18-4B05-BBCE-4B801671808D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114412" y="1275687"/>
            <a:ext cx="233811" cy="24798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707D5BB-99F4-4CD2-9138-7DCEE5B9255B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134701" y="1549569"/>
            <a:ext cx="193232" cy="2049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8D0AB1-80DE-4055-A9B8-D0BAA95C7BB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156829" y="1780411"/>
            <a:ext cx="148976" cy="19457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830379C-0437-46B8-A2B8-6230A70F0A5A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158075" y="2000890"/>
            <a:ext cx="146487" cy="1934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8489047" y="2094434"/>
            <a:ext cx="160527" cy="1906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239F0B-8C47-4585-9EB8-8EC0BF14B550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162220" y="2630405"/>
            <a:ext cx="138195" cy="2017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C69C1F-2CAE-4984-91E4-52ECB245F142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146039" y="2208075"/>
            <a:ext cx="170559" cy="2106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B31C2EB-A559-4E99-A2A5-40BDC5506B42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8484803" y="1844304"/>
            <a:ext cx="177248" cy="234101"/>
          </a:xfrm>
          <a:prstGeom prst="rect">
            <a:avLst/>
          </a:prstGeom>
        </p:spPr>
      </p:pic>
      <p:graphicFrame>
        <p:nvGraphicFramePr>
          <p:cNvPr id="37" name="Table 3">
            <a:extLst>
              <a:ext uri="{FF2B5EF4-FFF2-40B4-BE49-F238E27FC236}">
                <a16:creationId xmlns:a16="http://schemas.microsoft.com/office/drawing/2014/main" id="{4DB05E92-4C7A-47AC-BC7B-25F92670609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3126695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7858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7.png"/><Relationship Id="rId12" Type="http://schemas.openxmlformats.org/officeDocument/2006/relationships/image" Target="../media/image5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png"/><Relationship Id="rId11" Type="http://schemas.openxmlformats.org/officeDocument/2006/relationships/image" Target="../media/image49.png"/><Relationship Id="rId5" Type="http://schemas.openxmlformats.org/officeDocument/2006/relationships/image" Target="../media/image1.emf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4.svg"/><Relationship Id="rId18" Type="http://schemas.openxmlformats.org/officeDocument/2006/relationships/customXml" Target="../ink/ink5.xml"/><Relationship Id="rId26" Type="http://schemas.openxmlformats.org/officeDocument/2006/relationships/image" Target="../media/image61.png"/><Relationship Id="rId39" Type="http://schemas.openxmlformats.org/officeDocument/2006/relationships/image" Target="../media/image69.png"/><Relationship Id="rId21" Type="http://schemas.openxmlformats.org/officeDocument/2006/relationships/image" Target="../media/image58.png"/><Relationship Id="rId34" Type="http://schemas.openxmlformats.org/officeDocument/2006/relationships/customXml" Target="../ink/ink12.xml"/><Relationship Id="rId42" Type="http://schemas.openxmlformats.org/officeDocument/2006/relationships/image" Target="../media/image71.png"/><Relationship Id="rId47" Type="http://schemas.openxmlformats.org/officeDocument/2006/relationships/image" Target="../media/image74.png"/><Relationship Id="rId50" Type="http://schemas.openxmlformats.org/officeDocument/2006/relationships/customXml" Target="../ink/ink17.xml"/><Relationship Id="rId55" Type="http://schemas.openxmlformats.org/officeDocument/2006/relationships/image" Target="../media/image80.png"/><Relationship Id="rId63" Type="http://schemas.openxmlformats.org/officeDocument/2006/relationships/customXml" Target="../ink/ink22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6" Type="http://schemas.openxmlformats.org/officeDocument/2006/relationships/customXml" Target="../ink/ink4.xml"/><Relationship Id="rId20" Type="http://schemas.openxmlformats.org/officeDocument/2006/relationships/customXml" Target="../ink/ink6.xml"/><Relationship Id="rId29" Type="http://schemas.openxmlformats.org/officeDocument/2006/relationships/image" Target="../media/image63.png"/><Relationship Id="rId41" Type="http://schemas.openxmlformats.org/officeDocument/2006/relationships/image" Target="../media/image70.png"/><Relationship Id="rId54" Type="http://schemas.openxmlformats.org/officeDocument/2006/relationships/customXml" Target="../ink/ink18.xml"/><Relationship Id="rId62" Type="http://schemas.openxmlformats.org/officeDocument/2006/relationships/image" Target="../media/image84.png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52.png"/><Relationship Id="rId24" Type="http://schemas.openxmlformats.org/officeDocument/2006/relationships/customXml" Target="../ink/ink8.xml"/><Relationship Id="rId32" Type="http://schemas.openxmlformats.org/officeDocument/2006/relationships/customXml" Target="../ink/ink11.xml"/><Relationship Id="rId37" Type="http://schemas.openxmlformats.org/officeDocument/2006/relationships/image" Target="../media/image68.svg"/><Relationship Id="rId40" Type="http://schemas.openxmlformats.org/officeDocument/2006/relationships/customXml" Target="../ink/ink14.xml"/><Relationship Id="rId45" Type="http://schemas.openxmlformats.org/officeDocument/2006/relationships/image" Target="../media/image73.png"/><Relationship Id="rId53" Type="http://schemas.openxmlformats.org/officeDocument/2006/relationships/image" Target="../media/image79.svg"/><Relationship Id="rId58" Type="http://schemas.openxmlformats.org/officeDocument/2006/relationships/image" Target="../media/image80.svg"/><Relationship Id="rId66" Type="http://schemas.openxmlformats.org/officeDocument/2006/relationships/image" Target="../media/image86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55.png"/><Relationship Id="rId23" Type="http://schemas.openxmlformats.org/officeDocument/2006/relationships/image" Target="../media/image59.png"/><Relationship Id="rId28" Type="http://schemas.openxmlformats.org/officeDocument/2006/relationships/customXml" Target="../ink/ink9.xml"/><Relationship Id="rId36" Type="http://schemas.openxmlformats.org/officeDocument/2006/relationships/image" Target="../media/image67.png"/><Relationship Id="rId49" Type="http://schemas.openxmlformats.org/officeDocument/2006/relationships/image" Target="../media/image76.svg"/><Relationship Id="rId57" Type="http://schemas.openxmlformats.org/officeDocument/2006/relationships/image" Target="../media/image81.png"/><Relationship Id="rId61" Type="http://schemas.openxmlformats.org/officeDocument/2006/relationships/customXml" Target="../ink/ink21.xml"/><Relationship Id="rId10" Type="http://schemas.openxmlformats.org/officeDocument/2006/relationships/customXml" Target="../ink/ink2.xml"/><Relationship Id="rId19" Type="http://schemas.openxmlformats.org/officeDocument/2006/relationships/image" Target="../media/image57.png"/><Relationship Id="rId31" Type="http://schemas.openxmlformats.org/officeDocument/2006/relationships/image" Target="../media/image64.png"/><Relationship Id="rId44" Type="http://schemas.openxmlformats.org/officeDocument/2006/relationships/customXml" Target="../ink/ink15.xml"/><Relationship Id="rId52" Type="http://schemas.openxmlformats.org/officeDocument/2006/relationships/image" Target="../media/image78.png"/><Relationship Id="rId60" Type="http://schemas.openxmlformats.org/officeDocument/2006/relationships/image" Target="../media/image83.png"/><Relationship Id="rId65" Type="http://schemas.openxmlformats.org/officeDocument/2006/relationships/customXml" Target="../ink/ink2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1.png"/><Relationship Id="rId14" Type="http://schemas.openxmlformats.org/officeDocument/2006/relationships/customXml" Target="../ink/ink3.xml"/><Relationship Id="rId22" Type="http://schemas.openxmlformats.org/officeDocument/2006/relationships/customXml" Target="../ink/ink7.xml"/><Relationship Id="rId27" Type="http://schemas.openxmlformats.org/officeDocument/2006/relationships/image" Target="../media/image62.svg"/><Relationship Id="rId30" Type="http://schemas.openxmlformats.org/officeDocument/2006/relationships/customXml" Target="../ink/ink10.xml"/><Relationship Id="rId35" Type="http://schemas.openxmlformats.org/officeDocument/2006/relationships/image" Target="../media/image66.png"/><Relationship Id="rId43" Type="http://schemas.openxmlformats.org/officeDocument/2006/relationships/image" Target="../media/image72.svg"/><Relationship Id="rId48" Type="http://schemas.openxmlformats.org/officeDocument/2006/relationships/image" Target="../media/image75.png"/><Relationship Id="rId56" Type="http://schemas.openxmlformats.org/officeDocument/2006/relationships/customXml" Target="../ink/ink19.xml"/><Relationship Id="rId64" Type="http://schemas.openxmlformats.org/officeDocument/2006/relationships/image" Target="../media/image85.png"/><Relationship Id="rId8" Type="http://schemas.openxmlformats.org/officeDocument/2006/relationships/customXml" Target="../ink/ink1.xml"/><Relationship Id="rId51" Type="http://schemas.openxmlformats.org/officeDocument/2006/relationships/image" Target="../media/image77.png"/><Relationship Id="rId3" Type="http://schemas.openxmlformats.org/officeDocument/2006/relationships/tags" Target="../tags/tag35.xml"/><Relationship Id="rId12" Type="http://schemas.openxmlformats.org/officeDocument/2006/relationships/image" Target="../media/image53.png"/><Relationship Id="rId17" Type="http://schemas.openxmlformats.org/officeDocument/2006/relationships/image" Target="../media/image56.png"/><Relationship Id="rId25" Type="http://schemas.openxmlformats.org/officeDocument/2006/relationships/image" Target="../media/image60.png"/><Relationship Id="rId33" Type="http://schemas.openxmlformats.org/officeDocument/2006/relationships/image" Target="../media/image65.png"/><Relationship Id="rId38" Type="http://schemas.openxmlformats.org/officeDocument/2006/relationships/customXml" Target="../ink/ink13.xml"/><Relationship Id="rId46" Type="http://schemas.openxmlformats.org/officeDocument/2006/relationships/customXml" Target="../ink/ink16.xml"/><Relationship Id="rId59" Type="http://schemas.openxmlformats.org/officeDocument/2006/relationships/customXml" Target="../ink/ink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3.xml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4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productmanagement101/design-sprints-at-google-85ff62fed5f8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107996"/>
          </a:xfrm>
        </p:spPr>
        <p:txBody>
          <a:bodyPr/>
          <a:lstStyle/>
          <a:p>
            <a:pPr algn="ctr"/>
            <a:r>
              <a:rPr lang="nb-NO" sz="6600">
                <a:solidFill>
                  <a:schemeClr val="bg1"/>
                </a:solidFill>
              </a:rPr>
              <a:t>Behov til betal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2400" b="1">
                <a:solidFill>
                  <a:schemeClr val="bg1"/>
                </a:solidFill>
              </a:rPr>
              <a:t>Presentasjon av løsningsforslag etter design sprint </a:t>
            </a:r>
            <a:br>
              <a:rPr lang="nb-NO" sz="2400" b="1">
                <a:solidFill>
                  <a:schemeClr val="bg1"/>
                </a:solidFill>
              </a:rPr>
            </a:br>
            <a:endParaRPr lang="nb-NO" sz="2400" b="1">
              <a:solidFill>
                <a:schemeClr val="bg1"/>
              </a:solidFill>
            </a:endParaRPr>
          </a:p>
          <a:p>
            <a:pPr algn="ctr"/>
            <a:r>
              <a:rPr lang="nb-NO" sz="2400" b="1">
                <a:solidFill>
                  <a:schemeClr val="bg1"/>
                </a:solidFill>
              </a:rPr>
              <a:t>BOTT ØL Innføring</a:t>
            </a:r>
            <a:endParaRPr lang="nb-NO" sz="24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00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Allmøte – 08.04.2021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ACDDB166-83B2-4666-9376-572CF6BBD65D}"/>
              </a:ext>
            </a:extLst>
          </p:cNvPr>
          <p:cNvSpPr/>
          <p:nvPr/>
        </p:nvSpPr>
        <p:spPr>
          <a:xfrm>
            <a:off x="1092965" y="1718419"/>
            <a:ext cx="4410000" cy="24639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6FF23C-324C-42B6-B7DF-3A26817EC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9232" y="1718419"/>
            <a:ext cx="4411408" cy="24785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o alternative løsningsforslag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56C6D50-B0AC-4E8B-972C-BD466883A7F1}"/>
              </a:ext>
            </a:extLst>
          </p:cNvPr>
          <p:cNvSpPr txBox="1">
            <a:spLocks/>
          </p:cNvSpPr>
          <p:nvPr/>
        </p:nvSpPr>
        <p:spPr>
          <a:xfrm>
            <a:off x="887485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akultetene velger organisering selv, gitt at…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A53D6858-DB69-4A7A-A815-5331A44B3C16}"/>
              </a:ext>
            </a:extLst>
          </p:cNvPr>
          <p:cNvSpPr txBox="1">
            <a:spLocks/>
          </p:cNvSpPr>
          <p:nvPr/>
        </p:nvSpPr>
        <p:spPr>
          <a:xfrm>
            <a:off x="6738674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nkjøpere organiseres på nivå 1 og 2 (ikke nivå 3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D3F4A7-DB74-4E9C-A4FA-0A4823A3451A}"/>
              </a:ext>
            </a:extLst>
          </p:cNvPr>
          <p:cNvCxnSpPr/>
          <p:nvPr/>
        </p:nvCxnSpPr>
        <p:spPr>
          <a:xfrm>
            <a:off x="887544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FF52125-FEA4-4430-881A-7FA90C83430D}"/>
              </a:ext>
            </a:extLst>
          </p:cNvPr>
          <p:cNvCxnSpPr/>
          <p:nvPr/>
        </p:nvCxnSpPr>
        <p:spPr>
          <a:xfrm>
            <a:off x="6738733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ABD43EF4-A64E-43C4-8771-F5F915950027}"/>
              </a:ext>
            </a:extLst>
          </p:cNvPr>
          <p:cNvSpPr/>
          <p:nvPr/>
        </p:nvSpPr>
        <p:spPr>
          <a:xfrm>
            <a:off x="499193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530703-B4C5-45C7-AF31-0224FA4D02EB}"/>
              </a:ext>
            </a:extLst>
          </p:cNvPr>
          <p:cNvSpPr/>
          <p:nvPr/>
        </p:nvSpPr>
        <p:spPr>
          <a:xfrm>
            <a:off x="6350478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5AD68B-CCF4-45A1-8A3A-1EF0B32F8AEC}"/>
              </a:ext>
            </a:extLst>
          </p:cNvPr>
          <p:cNvSpPr/>
          <p:nvPr/>
        </p:nvSpPr>
        <p:spPr>
          <a:xfrm>
            <a:off x="1574509" y="1718419"/>
            <a:ext cx="3706405" cy="246397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mum 50% av stillingen dedikeres til innkjøpsfaglige arbeidsoppgaver (ref. rollebeskrivelse fra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opprettes innkjøpergrupper på nivå 1 og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srådgive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llen kan innehas av innkjøper i 100% innkjøpsfaglig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kommende bør utføre minimum 10 anskaffelser under nasjonal terskelverdi per år (1,3 millioner kron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nødvendige sertifiseringer for å dekke kompetansekravene beskrevet i rollebeskrivelsen (ref.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vrige ramm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og anskaffelsesrådgivere inngår i faglig nettverk/forum for å ivareta kompetansekrav, fagmiljø og utveksling av kunnskap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40A8E9F-1094-484D-93BA-733877EB17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719" y="1745471"/>
            <a:ext cx="344104" cy="39249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FFEACB-B0EE-4625-B5E3-3A73EBD217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1226" y="2422770"/>
            <a:ext cx="301090" cy="36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469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48719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Løsningsforslag 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AC3F5B-9895-41CB-9B16-31574A3C7AC8}"/>
              </a:ext>
            </a:extLst>
          </p:cNvPr>
          <p:cNvGrpSpPr/>
          <p:nvPr/>
        </p:nvGrpSpPr>
        <p:grpSpPr>
          <a:xfrm>
            <a:off x="1369387" y="1153084"/>
            <a:ext cx="9453226" cy="4818956"/>
            <a:chOff x="1369387" y="1019522"/>
            <a:chExt cx="9453226" cy="481895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F5DBEB4-E380-4F60-81AA-61BB5EF4FDE2}"/>
                </a:ext>
              </a:extLst>
            </p:cNvPr>
            <p:cNvGrpSpPr/>
            <p:nvPr/>
          </p:nvGrpSpPr>
          <p:grpSpPr>
            <a:xfrm>
              <a:off x="1369387" y="1209360"/>
              <a:ext cx="9453226" cy="4629118"/>
              <a:chOff x="1092965" y="1718419"/>
              <a:chExt cx="4410000" cy="2159517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CDDB166-83B2-4666-9376-572CF6BBD65D}"/>
                  </a:ext>
                </a:extLst>
              </p:cNvPr>
              <p:cNvSpPr/>
              <p:nvPr/>
            </p:nvSpPr>
            <p:spPr>
              <a:xfrm>
                <a:off x="1092965" y="1718419"/>
                <a:ext cx="4410000" cy="215951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D5AD68B-CCF4-45A1-8A3A-1EF0B32F8AEC}"/>
                  </a:ext>
                </a:extLst>
              </p:cNvPr>
              <p:cNvSpPr/>
              <p:nvPr/>
            </p:nvSpPr>
            <p:spPr>
              <a:xfrm>
                <a:off x="1603267" y="1780728"/>
                <a:ext cx="3706405" cy="1961719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nkjøpere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inimum 50% av stillingen dedikeres til innkjøpsfaglige arbeidsoppgaver (ref. rollebeskrivelse fra BOTT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et opprettes innkjøpergrupper på nivå 1 og 2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nskaffelsesrådgiver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ollen kan innehas av innkjøper i 100% innkjøpsfaglig stilling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edkommende bør utføre minimum 10 anskaffelser under nasjonal terskelverdi per år (1,3 millioner kroner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å inneha nødvendige sertifiseringer for å dekke kompetansekravene beskrevet i rollebeskrivelsen (ref. BOTT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osessansvarlig for anskaffelsesområdet avgjør hvorvidt kriteriene er oppfylt</a:t>
                </a: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Øvrige rammer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nkjøpere og anskaffelsesrådgivere inngår i faglig nettverk/forum for å ivareta kompetansekrav, fagmiljø og utveksling av kunnskap</a:t>
                </a:r>
              </a:p>
            </p:txBody>
          </p: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240A8E9F-1094-484D-93BA-733877EB17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98477" y="1898847"/>
                <a:ext cx="344104" cy="392493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B7FFEACB-B0EE-4625-B5E3-3A73EBD217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19984" y="2576146"/>
                <a:ext cx="301090" cy="360234"/>
              </a:xfrm>
              <a:prstGeom prst="rect">
                <a:avLst/>
              </a:prstGeom>
            </p:spPr>
          </p:pic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89BF8AC-557A-4015-A886-A87BAF69726E}"/>
                </a:ext>
              </a:extLst>
            </p:cNvPr>
            <p:cNvSpPr/>
            <p:nvPr/>
          </p:nvSpPr>
          <p:spPr>
            <a:xfrm>
              <a:off x="1633109" y="1019522"/>
              <a:ext cx="527672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kultetene velger organisering selv, gitt at…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4B21CD2-0954-4E63-BB6E-AA928EA5669E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05AC69-4A3A-4E11-B7ED-59F990583039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2099D26C-FC59-4F9D-9AEC-A94AE3B7D77E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589772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8EE0EA05-2397-478B-94CB-E4CA7DEB9E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6168" y="1750219"/>
            <a:ext cx="3021163" cy="16888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DA28867-9E1F-4024-AB67-07452502B6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7544" y="1750219"/>
            <a:ext cx="3010187" cy="168160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07623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re eksempler på hvordan løsningsforslag 1 vil kunne ta for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C065F8-282E-47B6-BD18-75DCDE7C5D85}"/>
              </a:ext>
            </a:extLst>
          </p:cNvPr>
          <p:cNvGrpSpPr/>
          <p:nvPr/>
        </p:nvGrpSpPr>
        <p:grpSpPr>
          <a:xfrm>
            <a:off x="499193" y="1260270"/>
            <a:ext cx="3407487" cy="334099"/>
            <a:chOff x="499193" y="972597"/>
            <a:chExt cx="3407487" cy="334099"/>
          </a:xfrm>
        </p:grpSpPr>
        <p:sp>
          <p:nvSpPr>
            <p:cNvPr id="6" name="Title 3">
              <a:extLst>
                <a:ext uri="{FF2B5EF4-FFF2-40B4-BE49-F238E27FC236}">
                  <a16:creationId xmlns:a16="http://schemas.microsoft.com/office/drawing/2014/main" id="{A56C6D50-B0AC-4E8B-972C-BD466883A7F1}"/>
                </a:ext>
              </a:extLst>
            </p:cNvPr>
            <p:cNvSpPr txBox="1">
              <a:spLocks/>
            </p:cNvSpPr>
            <p:nvPr/>
          </p:nvSpPr>
          <p:spPr>
            <a:xfrm>
              <a:off x="892785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3 (50%)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1D3F4A7-DB74-4E9C-A4FA-0A4823A3451A}"/>
                </a:ext>
              </a:extLst>
            </p:cNvPr>
            <p:cNvCxnSpPr/>
            <p:nvPr/>
          </p:nvCxnSpPr>
          <p:spPr>
            <a:xfrm>
              <a:off x="893066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BD43EF4-A64E-43C4-8771-F5F915950027}"/>
                </a:ext>
              </a:extLst>
            </p:cNvPr>
            <p:cNvSpPr/>
            <p:nvPr/>
          </p:nvSpPr>
          <p:spPr>
            <a:xfrm>
              <a:off x="499193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0ABDB1D-7B5C-4460-9E9D-B8273878A5F9}"/>
              </a:ext>
            </a:extLst>
          </p:cNvPr>
          <p:cNvGrpSpPr/>
          <p:nvPr/>
        </p:nvGrpSpPr>
        <p:grpSpPr>
          <a:xfrm>
            <a:off x="4375119" y="1260270"/>
            <a:ext cx="3407391" cy="334099"/>
            <a:chOff x="6350478" y="972597"/>
            <a:chExt cx="3407391" cy="334099"/>
          </a:xfrm>
        </p:grpSpPr>
        <p:sp>
          <p:nvSpPr>
            <p:cNvPr id="8" name="Title 3">
              <a:extLst>
                <a:ext uri="{FF2B5EF4-FFF2-40B4-BE49-F238E27FC236}">
                  <a16:creationId xmlns:a16="http://schemas.microsoft.com/office/drawing/2014/main" id="{A53D6858-DB69-4A7A-A815-5331A44B3C16}"/>
                </a:ext>
              </a:extLst>
            </p:cNvPr>
            <p:cNvSpPr txBox="1">
              <a:spLocks/>
            </p:cNvSpPr>
            <p:nvPr/>
          </p:nvSpPr>
          <p:spPr>
            <a:xfrm>
              <a:off x="6743974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3 (100%)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FF52125-FEA4-4430-881A-7FA90C83430D}"/>
                </a:ext>
              </a:extLst>
            </p:cNvPr>
            <p:cNvCxnSpPr/>
            <p:nvPr/>
          </p:nvCxnSpPr>
          <p:spPr>
            <a:xfrm>
              <a:off x="6744255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530703-B4C5-45C7-AF31-0224FA4D02EB}"/>
                </a:ext>
              </a:extLst>
            </p:cNvPr>
            <p:cNvSpPr/>
            <p:nvPr/>
          </p:nvSpPr>
          <p:spPr>
            <a:xfrm>
              <a:off x="6350478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860D52B-1279-42F0-8322-B0C0C6A8C660}"/>
              </a:ext>
            </a:extLst>
          </p:cNvPr>
          <p:cNvGrpSpPr/>
          <p:nvPr/>
        </p:nvGrpSpPr>
        <p:grpSpPr>
          <a:xfrm>
            <a:off x="8250949" y="1260270"/>
            <a:ext cx="3407391" cy="334099"/>
            <a:chOff x="6350478" y="972597"/>
            <a:chExt cx="3407391" cy="334099"/>
          </a:xfrm>
        </p:grpSpPr>
        <p:sp>
          <p:nvSpPr>
            <p:cNvPr id="27" name="Title 3">
              <a:extLst>
                <a:ext uri="{FF2B5EF4-FFF2-40B4-BE49-F238E27FC236}">
                  <a16:creationId xmlns:a16="http://schemas.microsoft.com/office/drawing/2014/main" id="{B3CA0EB7-B40C-4EA5-B8B5-5CBA73AABCB5}"/>
                </a:ext>
              </a:extLst>
            </p:cNvPr>
            <p:cNvSpPr txBox="1">
              <a:spLocks/>
            </p:cNvSpPr>
            <p:nvPr/>
          </p:nvSpPr>
          <p:spPr>
            <a:xfrm>
              <a:off x="6743974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2 (100%)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B9411B4-443F-4014-8585-656BB4B7871C}"/>
                </a:ext>
              </a:extLst>
            </p:cNvPr>
            <p:cNvCxnSpPr/>
            <p:nvPr/>
          </p:nvCxnSpPr>
          <p:spPr>
            <a:xfrm>
              <a:off x="6744255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1F5FB1E-4AFC-44C3-BC0B-E0450F1B046E}"/>
                </a:ext>
              </a:extLst>
            </p:cNvPr>
            <p:cNvSpPr/>
            <p:nvPr/>
          </p:nvSpPr>
          <p:spPr>
            <a:xfrm>
              <a:off x="6350478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</a:t>
              </a: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3217FC20-1D78-4987-8F8B-79EF8E72E2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6368" y="1750219"/>
            <a:ext cx="3021163" cy="169090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67734EA-E5AB-4E36-AB3F-3D0CA9E7A0A1}"/>
              </a:ext>
            </a:extLst>
          </p:cNvPr>
          <p:cNvSpPr/>
          <p:nvPr/>
        </p:nvSpPr>
        <p:spPr>
          <a:xfrm>
            <a:off x="884506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lokalisert på alle nivå og utfører rollen i minimum 50%-stilling, og utfører ikk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på nivå 2 har mulighet for å innta rollen som anskaffelsesrådgiver*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476320-7D96-4C28-8FEB-117CAE8A2D1C}"/>
              </a:ext>
            </a:extLst>
          </p:cNvPr>
          <p:cNvSpPr/>
          <p:nvPr/>
        </p:nvSpPr>
        <p:spPr>
          <a:xfrm>
            <a:off x="4768615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lokalisert på alle nivå  og utfører rollen i 100%-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har mulighet for å innta rollen som anskaffelsesrådgiver*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6CFEA08-729F-471B-B901-45F9C139D409}"/>
              </a:ext>
            </a:extLst>
          </p:cNvPr>
          <p:cNvSpPr/>
          <p:nvPr/>
        </p:nvSpPr>
        <p:spPr>
          <a:xfrm>
            <a:off x="8636168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er lokalisert på nivå 1 og 2, men ikke nivå 3, og utfører rollen i 100%-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har mulighet for å innta rollen som anskaffelsesrådgiver*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0B7B320-0F3B-4279-8970-E0441D466B10}"/>
              </a:ext>
            </a:extLst>
          </p:cNvPr>
          <p:cNvSpPr/>
          <p:nvPr/>
        </p:nvSpPr>
        <p:spPr>
          <a:xfrm>
            <a:off x="879544" y="4447986"/>
            <a:ext cx="3260941" cy="1523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te fagmiljø lokalt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vere kvalitet på tjenesten pga. lavere grad av profesjonalisering (50%-rolle)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vhengig tjeneste, lav robusthet og ulik praksis på tvers av institutter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å enheter klarer ikke fylle %-kravene til rollen alene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kan oppleve krysspress (kombinerte roller)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prosessansvarlig / flere personer å lære op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D853A0-B8E4-433E-9976-E24F3CF7DE35}"/>
              </a:ext>
            </a:extLst>
          </p:cNvPr>
          <p:cNvSpPr/>
          <p:nvPr/>
        </p:nvSpPr>
        <p:spPr>
          <a:xfrm>
            <a:off x="4756369" y="4447986"/>
            <a:ext cx="326094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te fagmiljø lokalt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vhengig tjeneste, lav robusthet og ulik praksis på tvers av institutter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å enheter klarer ikke fylle %-kravene til rollen alene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prosessansvarlig / flere personer å lære op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68C26B-1708-443E-B1E8-CE91ACB2128B}"/>
              </a:ext>
            </a:extLst>
          </p:cNvPr>
          <p:cNvSpPr/>
          <p:nvPr/>
        </p:nvSpPr>
        <p:spPr>
          <a:xfrm>
            <a:off x="8644445" y="4447986"/>
            <a:ext cx="315028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kjernevirksomheten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like fysisk tilgjengelig for behovshaveren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ørre avstand til «tverrfaglig miljø»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dre kjennskap til særtrekk/budsjett v/ institutt</a:t>
            </a:r>
          </a:p>
          <a:p>
            <a:pPr marL="360000" marR="0" lvl="1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orsjef må håndtere flere administrative oppgav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 som er ansvarlig for økonomi på institutt får mindre påvirkningskraft over innkjøpere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3436AD-BA68-4063-8806-68C5526890D6}"/>
              </a:ext>
            </a:extLst>
          </p:cNvPr>
          <p:cNvSpPr/>
          <p:nvPr/>
        </p:nvSpPr>
        <p:spPr>
          <a:xfrm>
            <a:off x="879544" y="6579518"/>
            <a:ext cx="301818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Gitt kriteriene angitt i løsningsforslag 1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247126F-40FB-4246-AA1D-349AE0D448A8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E801019A-636C-4334-8343-2B3571716792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2D4B6FD1-6CFC-41D7-AFA0-E3AA487246E6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428838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0EB15C-B551-4A1E-A2DA-DACBCA27E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0EB15C-B551-4A1E-A2DA-DACBCA27E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A8CD3AC-F241-4970-B06C-A72130BD76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3564944"/>
            <a:ext cx="345758" cy="31432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8E8F532-3EB6-4C7D-B60C-3CA410559C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1998686"/>
            <a:ext cx="345758" cy="31432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AAB9FD9-A794-4D5F-A1B1-A918682676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5224349"/>
            <a:ext cx="345758" cy="3143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1444A22-6E6A-4815-B6F6-6ADE9E17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52252"/>
            <a:ext cx="6968437" cy="584775"/>
          </a:xfrm>
        </p:spPr>
        <p:txBody>
          <a:bodyPr vert="horz"/>
          <a:lstStyle/>
          <a:p>
            <a:r>
              <a:rPr lang="nb-NO"/>
              <a:t>Løsningsforslag 2: Innkjøper på nivå 2 for hele NTNU (100%)</a:t>
            </a:r>
            <a:br>
              <a:rPr lang="nb-NO"/>
            </a:br>
            <a:r>
              <a:rPr lang="nb-NO" sz="1100" b="0" i="1"/>
              <a:t>Innkjøpere er lokalisert på nivå 2 og 1 (ikke nivå 3). Innkjøper utfører rollen i 100%-stilling, med mulighet for å innta rollen som anskaffelsesrådgiver (gitt visse kriterier). Det etableres innkjøpergrupper på nivå 1 og nivå 2</a:t>
            </a:r>
            <a:endParaRPr lang="nb-NO" sz="1100" i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4D1C4B-1455-47E6-A7BC-4750918CCD4F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415768" y="3307143"/>
            <a:ext cx="3776232" cy="1437552"/>
          </a:xfrm>
        </p:spPr>
        <p:txBody>
          <a:bodyPr/>
          <a:lstStyle/>
          <a:p>
            <a:r>
              <a:rPr lang="nb-NO"/>
              <a:t>Sterkt fagmiljø</a:t>
            </a:r>
          </a:p>
          <a:p>
            <a:r>
              <a:rPr lang="nb-NO"/>
              <a:t>Profesjonalisert innkjøper-rolle (100%)</a:t>
            </a:r>
          </a:p>
          <a:p>
            <a:pPr marL="180000" fontAlgn="b"/>
            <a:r>
              <a:rPr lang="nb-NO"/>
              <a:t>Person-uavhengig tjeneste, høy robusthet og lik praksis på tvers av fakulteter (lik behandling, samme tjeneste) </a:t>
            </a:r>
          </a:p>
          <a:p>
            <a:pPr marL="180000" fontAlgn="b"/>
            <a:r>
              <a:rPr lang="nb-NO"/>
              <a:t>Fakultet/økonomisjef har større påvirkningskraft</a:t>
            </a:r>
          </a:p>
          <a:p>
            <a:pPr marL="180000" fontAlgn="b"/>
            <a:r>
              <a:rPr lang="nb-NO"/>
              <a:t>Kortere avstand til prosessansvarli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83EF486-528E-4B86-9DB7-C6FF245C3C6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15767" y="4988595"/>
            <a:ext cx="3776233" cy="1689608"/>
          </a:xfrm>
          <a:solidFill>
            <a:schemeClr val="bg1"/>
          </a:solidFill>
        </p:spPr>
        <p:txBody>
          <a:bodyPr/>
          <a:lstStyle/>
          <a:p>
            <a:r>
              <a:rPr lang="nb-NO"/>
              <a:t>Avstand til kjernevirksomhet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Ikke like fysisk tilgjengelig for behovshaver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ørre avstand til «tverrfaglig miljø»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erk kjennskap til særtrekk og budsjett ved institutt</a:t>
            </a:r>
          </a:p>
          <a:p>
            <a:pPr marL="180000" defTabSz="609585" fontAlgn="b"/>
            <a:r>
              <a:rPr lang="nb-NO"/>
              <a:t>Kontorsjef må håndtere flere administrative oppgaver</a:t>
            </a:r>
            <a:endParaRPr lang="nb-NO" i="1">
              <a:solidFill>
                <a:srgbClr val="FF0000"/>
              </a:solidFill>
            </a:endParaRPr>
          </a:p>
          <a:p>
            <a:pPr marL="180000" defTabSz="609585" fontAlgn="b"/>
            <a:r>
              <a:rPr lang="nb-NO"/>
              <a:t>For anskaffelsesrådgiver: lite fagmiljø og lav robusthet</a:t>
            </a:r>
          </a:p>
          <a:p>
            <a:pPr marL="180000" defTabSz="609585" fontAlgn="b"/>
            <a:r>
              <a:rPr lang="nb-NO"/>
              <a:t>Den som er ansvarlig for økonomi på institutt (kontorsjef) får mindre påvirkningskraft over innkjøperen</a:t>
            </a:r>
          </a:p>
          <a:p>
            <a:pPr marL="180000" defTabSz="609585" fontAlgn="b"/>
            <a:r>
              <a:rPr lang="nb-NO"/>
              <a:t>Ingen fleksibilitet til å organisere Innkjøpere og Anskaffelsesrådgivere på nivå 3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E22878-F828-43FE-A92F-20F2C5CB1E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5927" y="1957175"/>
            <a:ext cx="364319" cy="3903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FE97199-FF13-4D7A-BC6F-6BECA5ED88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6273" y="3524876"/>
            <a:ext cx="344104" cy="39249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69EA71A-491A-424F-BE96-D6A505CE6B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3525951"/>
            <a:ext cx="354856" cy="39034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98F1D36-BDAE-4B5D-A2DE-3691A23798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5149945"/>
            <a:ext cx="354856" cy="39034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4EFBDAA1-4235-488A-AC6C-031ED997CD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6273" y="1956100"/>
            <a:ext cx="344104" cy="392493"/>
          </a:xfrm>
          <a:prstGeom prst="rect">
            <a:avLst/>
          </a:prstGeom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D4686FB7-79C4-4798-88C7-624A9E8985E7}"/>
              </a:ext>
            </a:extLst>
          </p:cNvPr>
          <p:cNvSpPr/>
          <p:nvPr/>
        </p:nvSpPr>
        <p:spPr>
          <a:xfrm>
            <a:off x="4614041" y="1875492"/>
            <a:ext cx="1642155" cy="553416"/>
          </a:xfrm>
          <a:prstGeom prst="roundRect">
            <a:avLst/>
          </a:prstGeom>
          <a:noFill/>
          <a:ln w="28575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5BE62F46-17AF-475D-A2F4-0FED039857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2439" y="1998686"/>
            <a:ext cx="273718" cy="32748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9BEF20BE-CA6A-4DF1-B39A-4994FC72F4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07813" y="1995625"/>
            <a:ext cx="273718" cy="32748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A5E8E13-9378-400C-9FFE-0970B38FE5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187" y="1992564"/>
            <a:ext cx="273718" cy="32748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825248A-AE4E-4139-9560-94BEBB8323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8562" y="1989503"/>
            <a:ext cx="273718" cy="327485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7E4062B8-5FF1-4F54-A66C-02C6BE7BD0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1957175"/>
            <a:ext cx="354856" cy="39034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D950677-A26A-46A1-AD2E-B4AE46D717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1958788"/>
            <a:ext cx="295714" cy="38711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53506D06-6F94-4FC3-840E-832DD85C63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3527564"/>
            <a:ext cx="295714" cy="387116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1D9F9F18-D506-448E-9FF4-8D968F0AC6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5151558"/>
            <a:ext cx="295714" cy="387116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4AC9A7F-ABDB-4152-AE05-912CE9979A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7442" y="3526963"/>
            <a:ext cx="299262" cy="37733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F93B0A1A-CD44-46B8-BD85-739E3D4E398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7442" y="1939657"/>
            <a:ext cx="299262" cy="377331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0C87FED-D7F4-4D37-ACA9-8103950B1112}"/>
              </a:ext>
            </a:extLst>
          </p:cNvPr>
          <p:cNvSpPr/>
          <p:nvPr/>
        </p:nvSpPr>
        <p:spPr>
          <a:xfrm>
            <a:off x="5191365" y="3490830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AB3783F-8ADD-484A-864F-371E5F6901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84573" y="3535511"/>
            <a:ext cx="301090" cy="360234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5042A94-CA00-41A4-9F73-D7D8E1278F2E}"/>
              </a:ext>
            </a:extLst>
          </p:cNvPr>
          <p:cNvCxnSpPr>
            <a:cxnSpLocks/>
            <a:stCxn id="38" idx="3"/>
            <a:endCxn id="65" idx="1"/>
          </p:cNvCxnSpPr>
          <p:nvPr/>
        </p:nvCxnSpPr>
        <p:spPr>
          <a:xfrm>
            <a:off x="5678872" y="3723001"/>
            <a:ext cx="268734" cy="0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DA21BAF-D257-4613-9245-C7EB9A39AECA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1EBA65B-ABDD-474C-B828-40C24FEDE3D4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1520CA3D-87F8-4E61-88AA-75BEBE936B10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AE854B9-C505-4CB9-AD8B-C54D4313AD1A}"/>
              </a:ext>
            </a:extLst>
          </p:cNvPr>
          <p:cNvSpPr/>
          <p:nvPr/>
        </p:nvSpPr>
        <p:spPr>
          <a:xfrm>
            <a:off x="2364748" y="3929797"/>
            <a:ext cx="1734638" cy="5168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% 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het for anskaffelsesrådgiver gitt visse kriteri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2E82765-5E8E-41E1-825E-AFA20010D0BB}"/>
              </a:ext>
            </a:extLst>
          </p:cNvPr>
          <p:cNvSpPr/>
          <p:nvPr/>
        </p:nvSpPr>
        <p:spPr>
          <a:xfrm>
            <a:off x="4922631" y="1776169"/>
            <a:ext cx="1024975" cy="1833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3275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E75F766-7FE9-484A-A5FD-19A3F44E2574}"/>
              </a:ext>
            </a:extLst>
          </p:cNvPr>
          <p:cNvSpPr/>
          <p:nvPr/>
        </p:nvSpPr>
        <p:spPr>
          <a:xfrm>
            <a:off x="6330402" y="1932011"/>
            <a:ext cx="1562296" cy="4403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foreta alle anskaffelser, og støtter institutt/fakultet med anskaffelser under nasjonal terskelverdi ved behov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71EE339-2555-476E-87F8-C60704BE0F93}"/>
              </a:ext>
            </a:extLst>
          </p:cNvPr>
          <p:cNvSpPr/>
          <p:nvPr/>
        </p:nvSpPr>
        <p:spPr>
          <a:xfrm>
            <a:off x="5947606" y="3490830"/>
            <a:ext cx="2252254" cy="4643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innehas av innkjøper i 100%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ør utføre minimum 10 anskaffelser under nasjonal terskelverdi per år  (1,3 mill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sertifiseringer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hh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kompetansekrav for rolle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</p:txBody>
      </p:sp>
    </p:spTree>
    <p:extLst>
      <p:ext uri="{BB962C8B-B14F-4D97-AF65-F5344CB8AC3E}">
        <p14:creationId xmlns:p14="http://schemas.microsoft.com/office/powerpoint/2010/main" val="18422758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3031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</a:t>
                      </a:r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stand til kjernevirksomhet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jenesteavtaler/SLA for å sikre tilstrekkelig tilgjengelighet og responstid? Minimumskrav til fysisk tilstedeværelse? Dedikerte innkjøpere per institutt? Flere fagrekvirenter / delegert </a:t>
                      </a:r>
                      <a:r>
                        <a:rPr lang="nb-NO" sz="12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eransebekrefter</a:t>
                      </a: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19707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Kontorsjef må håndtere flere administrative oppgaver</a:t>
                      </a:r>
                      <a:endParaRPr lang="nb-NO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Oppgaver må kartlegges og definere hvem som skal gjøre hva. Mer rendyrkede administrative støtteroller? </a:t>
                      </a:r>
                      <a:br>
                        <a:rPr lang="nb-NO" sz="1200"/>
                      </a:br>
                      <a:r>
                        <a:rPr lang="nb-NO" sz="1200"/>
                        <a:t>Benytte fagrekvirent-rollen til noe annet enn lab-innkjøp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19066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For anskaffelsesrådgiver: lite fagmiljø, lav robusthet, avstand til f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Anskaffelsesrådgivere i Innkjøpergruppen? Nettverk av anskaffelsesrådgivere? «Anskaffelsesforum»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Den som er ansvarlig for økonomi på institutt (kontorsjef) får mindre påvirkningskraft over innkjøper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Etablere arenaer som sikrer god dialog mellom innkjøp og kontorsjef? Bruke mulighetene som ligger i system/e-handel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8064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kultet har ikke fleksibilitet til å velge andre alternativer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12815"/>
                  </a:ext>
                </a:extLst>
              </a:tr>
            </a:tbl>
          </a:graphicData>
        </a:graphic>
      </p:graphicFrame>
      <p:sp>
        <p:nvSpPr>
          <p:cNvPr id="12" name="Title 6">
            <a:extLst>
              <a:ext uri="{FF2B5EF4-FFF2-40B4-BE49-F238E27FC236}">
                <a16:creationId xmlns:a16="http://schemas.microsoft.com/office/drawing/2014/main" id="{354427D5-C896-42A3-AA01-162CA2BE70AD}"/>
              </a:ext>
            </a:extLst>
          </p:cNvPr>
          <p:cNvSpPr txBox="1">
            <a:spLocks/>
          </p:cNvSpPr>
          <p:nvPr/>
        </p:nvSpPr>
        <p:spPr>
          <a:xfrm>
            <a:off x="401847" y="152252"/>
            <a:ext cx="11513928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øsningsforslag 2: Innkjøper på nivå 2 for hele NTNU (100%)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isiko og mitigerende tiltak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2213DD7-24D6-45EF-8243-E70AEF5084BF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7BCABEC-2E55-4302-8365-57DEC24F77F7}"/>
              </a:ext>
            </a:extLst>
          </p:cNvPr>
          <p:cNvSpPr/>
          <p:nvPr/>
        </p:nvSpPr>
        <p:spPr>
          <a:xfrm>
            <a:off x="469529" y="2207800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D1F90C5-EB0B-4E03-A3F6-7DCB74C5E53E}"/>
              </a:ext>
            </a:extLst>
          </p:cNvPr>
          <p:cNvSpPr/>
          <p:nvPr/>
        </p:nvSpPr>
        <p:spPr>
          <a:xfrm>
            <a:off x="469529" y="2702639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0FA61CB-DD0B-45FE-9072-9E15FF663564}"/>
              </a:ext>
            </a:extLst>
          </p:cNvPr>
          <p:cNvSpPr/>
          <p:nvPr/>
        </p:nvSpPr>
        <p:spPr>
          <a:xfrm>
            <a:off x="469529" y="319747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FC33254-D321-4FEE-BD55-45AFF7C49B77}"/>
              </a:ext>
            </a:extLst>
          </p:cNvPr>
          <p:cNvSpPr/>
          <p:nvPr/>
        </p:nvSpPr>
        <p:spPr>
          <a:xfrm>
            <a:off x="469529" y="369231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535AC1A-1416-4FB0-8881-EFBC1881B656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947DCD8-7F22-4295-AFB8-762412B5BA1E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F6896E40-513E-469D-9032-1F7AA4E35FD2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670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ACDDB166-83B2-4666-9376-572CF6BBD65D}"/>
              </a:ext>
            </a:extLst>
          </p:cNvPr>
          <p:cNvSpPr/>
          <p:nvPr/>
        </p:nvSpPr>
        <p:spPr>
          <a:xfrm>
            <a:off x="1092965" y="1718419"/>
            <a:ext cx="4410000" cy="24639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6FF23C-324C-42B6-B7DF-3A26817EC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9232" y="1718419"/>
            <a:ext cx="4411408" cy="24785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48719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o alternative løsningsforslag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56C6D50-B0AC-4E8B-972C-BD466883A7F1}"/>
              </a:ext>
            </a:extLst>
          </p:cNvPr>
          <p:cNvSpPr txBox="1">
            <a:spLocks/>
          </p:cNvSpPr>
          <p:nvPr/>
        </p:nvSpPr>
        <p:spPr>
          <a:xfrm>
            <a:off x="887485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akultetene velger organisering selv, gitt at…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A53D6858-DB69-4A7A-A815-5331A44B3C16}"/>
              </a:ext>
            </a:extLst>
          </p:cNvPr>
          <p:cNvSpPr txBox="1">
            <a:spLocks/>
          </p:cNvSpPr>
          <p:nvPr/>
        </p:nvSpPr>
        <p:spPr>
          <a:xfrm>
            <a:off x="6738674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nkjøpere organiseres på nivå 1 og 2 (ikke nivå 3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D3F4A7-DB74-4E9C-A4FA-0A4823A3451A}"/>
              </a:ext>
            </a:extLst>
          </p:cNvPr>
          <p:cNvCxnSpPr/>
          <p:nvPr/>
        </p:nvCxnSpPr>
        <p:spPr>
          <a:xfrm>
            <a:off x="887544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FF52125-FEA4-4430-881A-7FA90C83430D}"/>
              </a:ext>
            </a:extLst>
          </p:cNvPr>
          <p:cNvCxnSpPr/>
          <p:nvPr/>
        </p:nvCxnSpPr>
        <p:spPr>
          <a:xfrm>
            <a:off x="6738733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3">
            <a:extLst>
              <a:ext uri="{FF2B5EF4-FFF2-40B4-BE49-F238E27FC236}">
                <a16:creationId xmlns:a16="http://schemas.microsoft.com/office/drawing/2014/main" id="{ADE18767-5CAA-4796-9C74-BB98E020F755}"/>
              </a:ext>
            </a:extLst>
          </p:cNvPr>
          <p:cNvSpPr txBox="1">
            <a:spLocks/>
          </p:cNvSpPr>
          <p:nvPr/>
        </p:nvSpPr>
        <p:spPr>
          <a:xfrm>
            <a:off x="1092964" y="4423242"/>
            <a:ext cx="5003035" cy="14690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elg dette alternativet hvis: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ulighet for organisatorisk nærhet til kjernevirksomheten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ndre justeringer i dagens løsning gir tilstrekkelig kvalitetsløft for tjenesten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Det er viktig med mulighet for å kombinere innkjøperrollen med andre roller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ulighet for innkjøper og anskaffelsesrådgiver på nivå 3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an vil gi fakultetene handlingsrom til å velge organisering selv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75F87078-DAC0-4D82-ABCA-B8E70AF57EB2}"/>
              </a:ext>
            </a:extLst>
          </p:cNvPr>
          <p:cNvSpPr txBox="1">
            <a:spLocks/>
          </p:cNvSpPr>
          <p:nvPr/>
        </p:nvSpPr>
        <p:spPr>
          <a:xfrm>
            <a:off x="6960296" y="4423242"/>
            <a:ext cx="4852282" cy="14690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elg dette alternativet hvis: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Sterkt innkjøpsfaglig miljø og nærhet til prosessansvarlig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Det er behov for kvalitetsløft på tjenestene som leveres i da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Administrative oppgaver på instituttnivå kan dekkes gjennom andre roller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ndre viktig med anskaffelsesrådgiver på nivå 3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elles praksis på tve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BD43EF4-A64E-43C4-8771-F5F915950027}"/>
              </a:ext>
            </a:extLst>
          </p:cNvPr>
          <p:cNvSpPr/>
          <p:nvPr/>
        </p:nvSpPr>
        <p:spPr>
          <a:xfrm>
            <a:off x="499193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530703-B4C5-45C7-AF31-0224FA4D02EB}"/>
              </a:ext>
            </a:extLst>
          </p:cNvPr>
          <p:cNvSpPr/>
          <p:nvPr/>
        </p:nvSpPr>
        <p:spPr>
          <a:xfrm>
            <a:off x="6350478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5AD68B-CCF4-45A1-8A3A-1EF0B32F8AEC}"/>
              </a:ext>
            </a:extLst>
          </p:cNvPr>
          <p:cNvSpPr/>
          <p:nvPr/>
        </p:nvSpPr>
        <p:spPr>
          <a:xfrm>
            <a:off x="1574509" y="1718419"/>
            <a:ext cx="3706405" cy="246397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mum 50% av stillingen dedikeres til innkjøpsfaglige arbeidsoppgaver (ref. rollebeskrivelse fra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opprettes innkjøpergrupper på nivå 1 og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srådgive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llen kan innehas av innkjøper i 100% innkjøpsfaglig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kommende bør utføre minimum 10 anskaffelser under nasjonal terskelverdi per år (1,3 millioner kron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nødvendige sertifiseringer for å dekke kompetansekravene beskrevet i rollebeskrivelsen (ref.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vrige ramm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og anskaffelsesrådgivere inngår i faglig nettverk/forum for å ivareta kompetansekrav, fagmiljø og utveksling av kunnskap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40A8E9F-1094-484D-93BA-733877EB17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719" y="1745471"/>
            <a:ext cx="344104" cy="39249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FFEACB-B0EE-4625-B5E3-3A73EBD217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1226" y="2422770"/>
            <a:ext cx="301090" cy="36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44220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569547"/>
              </p:ext>
            </p:extLst>
          </p:nvPr>
        </p:nvGraphicFramePr>
        <p:xfrm>
          <a:off x="401849" y="1211668"/>
          <a:ext cx="581360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813600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293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FAC92C-845D-43D8-811B-18EC22D95A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893440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D1FE3844-6F06-4720-B7E0-C8A8CBD796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D1FE3844-6F06-4720-B7E0-C8A8CBD7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25AD72-CA4A-47ED-8551-52BB99ACF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B1DE5F2D-F349-4D9E-85E2-7BA18D5978F3}"/>
              </a:ext>
            </a:extLst>
          </p:cNvPr>
          <p:cNvSpPr/>
          <p:nvPr/>
        </p:nvSpPr>
        <p:spPr>
          <a:xfrm>
            <a:off x="2986049" y="5394083"/>
            <a:ext cx="8172000" cy="128716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4" name="Title 73">
            <a:extLst>
              <a:ext uri="{FF2B5EF4-FFF2-40B4-BE49-F238E27FC236}">
                <a16:creationId xmlns:a16="http://schemas.microsoft.com/office/drawing/2014/main" id="{EC59EA4B-F9DE-4B6C-8421-DF879988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1" y="85421"/>
            <a:ext cx="10972800" cy="646331"/>
          </a:xfrm>
        </p:spPr>
        <p:txBody>
          <a:bodyPr vert="horz"/>
          <a:lstStyle/>
          <a:p>
            <a:r>
              <a:rPr lang="nb-NO" sz="1800" b="0"/>
              <a:t>Tilbakemeldinger og forankring av forslag</a:t>
            </a:r>
            <a:br>
              <a:rPr lang="nb-NO" sz="1800"/>
            </a:br>
            <a:r>
              <a:rPr lang="nb-NO" sz="1800"/>
              <a:t>Behov til betaling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A0AF7BB-2332-4C8C-B397-FEACBB635983}"/>
              </a:ext>
            </a:extLst>
          </p:cNvPr>
          <p:cNvSpPr/>
          <p:nvPr/>
        </p:nvSpPr>
        <p:spPr>
          <a:xfrm>
            <a:off x="10634015" y="34924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23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26.03.2021 </a:t>
            </a:r>
          </a:p>
        </p:txBody>
      </p:sp>
      <p:sp>
        <p:nvSpPr>
          <p:cNvPr id="528" name="Isosceles Triangle 527">
            <a:extLst>
              <a:ext uri="{FF2B5EF4-FFF2-40B4-BE49-F238E27FC236}">
                <a16:creationId xmlns:a16="http://schemas.microsoft.com/office/drawing/2014/main" id="{303579D1-6E85-48AF-BC45-8418AE9BC778}"/>
              </a:ext>
            </a:extLst>
          </p:cNvPr>
          <p:cNvSpPr/>
          <p:nvPr/>
        </p:nvSpPr>
        <p:spPr>
          <a:xfrm>
            <a:off x="10064615" y="370652"/>
            <a:ext cx="180000" cy="18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71AC14BA-6DBE-4619-A37D-CDCCAE5B39FF}"/>
              </a:ext>
            </a:extLst>
          </p:cNvPr>
          <p:cNvSpPr txBox="1"/>
          <p:nvPr/>
        </p:nvSpPr>
        <p:spPr>
          <a:xfrm>
            <a:off x="10209533" y="341636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Frister</a:t>
            </a:r>
          </a:p>
        </p:txBody>
      </p:sp>
      <p:sp>
        <p:nvSpPr>
          <p:cNvPr id="530" name="Flowchart: Decision 529">
            <a:extLst>
              <a:ext uri="{FF2B5EF4-FFF2-40B4-BE49-F238E27FC236}">
                <a16:creationId xmlns:a16="http://schemas.microsoft.com/office/drawing/2014/main" id="{E5C7644E-4509-4D32-A68C-A508846FA618}"/>
              </a:ext>
            </a:extLst>
          </p:cNvPr>
          <p:cNvSpPr/>
          <p:nvPr/>
        </p:nvSpPr>
        <p:spPr>
          <a:xfrm>
            <a:off x="10718508" y="366715"/>
            <a:ext cx="180000" cy="18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A4F6DE4-C2B6-4FAD-88F4-2475759EC2DE}"/>
              </a:ext>
            </a:extLst>
          </p:cNvPr>
          <p:cNvSpPr txBox="1"/>
          <p:nvPr/>
        </p:nvSpPr>
        <p:spPr>
          <a:xfrm>
            <a:off x="10863425" y="337699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eslutning</a:t>
            </a:r>
          </a:p>
        </p:txBody>
      </p:sp>
      <p:sp>
        <p:nvSpPr>
          <p:cNvPr id="532" name="Oval 531">
            <a:extLst>
              <a:ext uri="{FF2B5EF4-FFF2-40B4-BE49-F238E27FC236}">
                <a16:creationId xmlns:a16="http://schemas.microsoft.com/office/drawing/2014/main" id="{E0E95345-C6C5-452E-91FF-31AA1E4C4673}"/>
              </a:ext>
            </a:extLst>
          </p:cNvPr>
          <p:cNvSpPr/>
          <p:nvPr/>
        </p:nvSpPr>
        <p:spPr>
          <a:xfrm>
            <a:off x="11596240" y="36334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7422C21-F177-4F17-9600-8F855E618DD9}"/>
              </a:ext>
            </a:extLst>
          </p:cNvPr>
          <p:cNvSpPr txBox="1"/>
          <p:nvPr/>
        </p:nvSpPr>
        <p:spPr>
          <a:xfrm>
            <a:off x="11741157" y="334328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Mø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1ACC86-6FAE-4D0B-A9E1-5EAAB3170ACF}"/>
              </a:ext>
            </a:extLst>
          </p:cNvPr>
          <p:cNvSpPr txBox="1"/>
          <p:nvPr/>
        </p:nvSpPr>
        <p:spPr>
          <a:xfrm>
            <a:off x="222191" y="1156787"/>
            <a:ext cx="2213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1400" b="1">
                <a:solidFill>
                  <a:srgbClr val="000000"/>
                </a:solidFill>
                <a:latin typeface="Arial" panose="020B0604020202020204"/>
              </a:rPr>
              <a:t>Informasjonsdeling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94AEA53-314F-473A-8B47-6BCA306C35FB}"/>
              </a:ext>
            </a:extLst>
          </p:cNvPr>
          <p:cNvSpPr txBox="1"/>
          <p:nvPr/>
        </p:nvSpPr>
        <p:spPr>
          <a:xfrm>
            <a:off x="222191" y="2982724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Prosess på </a:t>
            </a:r>
            <a:b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hver enhet</a:t>
            </a:r>
            <a:endParaRPr lang="nb-NO" sz="1400" b="1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071A7C-5C5C-4692-BD59-0C1804EE2D4A}"/>
              </a:ext>
            </a:extLst>
          </p:cNvPr>
          <p:cNvSpPr txBox="1"/>
          <p:nvPr/>
        </p:nvSpPr>
        <p:spPr>
          <a:xfrm>
            <a:off x="222191" y="5138266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Formell behandling</a:t>
            </a:r>
            <a:b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på nivå 1</a:t>
            </a:r>
            <a:endParaRPr lang="nb-NO" sz="1400" b="1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4D100A-4A0A-4DA2-963A-1BEF2E158A27}"/>
              </a:ext>
            </a:extLst>
          </p:cNvPr>
          <p:cNvSpPr txBox="1"/>
          <p:nvPr/>
        </p:nvSpPr>
        <p:spPr>
          <a:xfrm>
            <a:off x="2789069" y="1584336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3.03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Presentasjon for 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innføringsled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50D146-AA4E-4066-BDFB-F882A3EA97A7}"/>
              </a:ext>
            </a:extLst>
          </p:cNvPr>
          <p:cNvGrpSpPr/>
          <p:nvPr/>
        </p:nvGrpSpPr>
        <p:grpSpPr>
          <a:xfrm>
            <a:off x="4191623" y="981804"/>
            <a:ext cx="2610068" cy="555480"/>
            <a:chOff x="3744252" y="981804"/>
            <a:chExt cx="6143400" cy="55548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14:cNvPr>
                <p14:cNvContentPartPr/>
                <p14:nvPr/>
              </p14:nvContentPartPr>
              <p14:xfrm>
                <a:off x="3744252" y="981804"/>
                <a:ext cx="5948640" cy="5554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658678" y="945420"/>
                  <a:ext cx="6119787" cy="628247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14:cNvPr>
                <p14:cNvContentPartPr/>
                <p14:nvPr/>
              </p14:nvContentPartPr>
              <p14:xfrm>
                <a:off x="9559332" y="1210404"/>
                <a:ext cx="328320" cy="2541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517023" y="1102251"/>
                  <a:ext cx="412092" cy="470106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2BA65E-6B64-41A6-9F52-8FE3A01E5472}"/>
              </a:ext>
            </a:extLst>
          </p:cNvPr>
          <p:cNvGrpSpPr/>
          <p:nvPr/>
        </p:nvGrpSpPr>
        <p:grpSpPr>
          <a:xfrm>
            <a:off x="3306260" y="867672"/>
            <a:ext cx="657685" cy="657685"/>
            <a:chOff x="4583320" y="867670"/>
            <a:chExt cx="657685" cy="65768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04A0825-B6CF-4E5C-887F-AB0A313C4667}"/>
                </a:ext>
              </a:extLst>
            </p:cNvPr>
            <p:cNvSpPr/>
            <p:nvPr/>
          </p:nvSpPr>
          <p:spPr>
            <a:xfrm>
              <a:off x="4583320" y="867670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1" name="Graphic 10" descr="Teacher">
              <a:extLst>
                <a:ext uri="{FF2B5EF4-FFF2-40B4-BE49-F238E27FC236}">
                  <a16:creationId xmlns:a16="http://schemas.microsoft.com/office/drawing/2014/main" id="{CA19850E-C9AF-4565-8EDE-D3851C661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618132" y="902483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14:cNvPr>
                <p14:cNvContentPartPr/>
                <p14:nvPr/>
              </p14:nvContentPartPr>
              <p14:xfrm>
                <a:off x="4880622" y="1085124"/>
                <a:ext cx="360" cy="3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862622" y="97712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14:cNvPr>
                <p14:cNvContentPartPr/>
                <p14:nvPr/>
              </p14:nvContentPartPr>
              <p14:xfrm>
                <a:off x="4871982" y="922764"/>
                <a:ext cx="360" cy="36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4853982" y="81476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6AF9E3A-F7E8-4114-866F-CDE2E9160E5C}"/>
              </a:ext>
            </a:extLst>
          </p:cNvPr>
          <p:cNvSpPr txBox="1"/>
          <p:nvPr/>
        </p:nvSpPr>
        <p:spPr>
          <a:xfrm>
            <a:off x="6490837" y="1584335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08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Allmøte for alle</a:t>
            </a:r>
            <a:b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relevante aktører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6118B18-9F01-440F-B799-455C07D8AA87}"/>
              </a:ext>
            </a:extLst>
          </p:cNvPr>
          <p:cNvGrpSpPr/>
          <p:nvPr/>
        </p:nvGrpSpPr>
        <p:grpSpPr>
          <a:xfrm>
            <a:off x="7008028" y="867672"/>
            <a:ext cx="657685" cy="657685"/>
            <a:chOff x="8741171" y="905839"/>
            <a:chExt cx="657685" cy="657685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097ABBC8-7175-4EF3-8131-F048FECBA699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34" name="Graphic 233" descr="Teacher">
              <a:extLst>
                <a:ext uri="{FF2B5EF4-FFF2-40B4-BE49-F238E27FC236}">
                  <a16:creationId xmlns:a16="http://schemas.microsoft.com/office/drawing/2014/main" id="{2212F159-57FE-41A6-86AA-CAC51B160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75983" y="940652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90783CF-1483-49B0-9323-0884F889BB4D}"/>
              </a:ext>
            </a:extLst>
          </p:cNvPr>
          <p:cNvSpPr txBox="1"/>
          <p:nvPr/>
        </p:nvSpPr>
        <p:spPr>
          <a:xfrm>
            <a:off x="4238045" y="1622501"/>
            <a:ext cx="2811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sz="1100" i="1">
                <a:solidFill>
                  <a:srgbClr val="000000"/>
                </a:solidFill>
                <a:latin typeface="Arial" panose="020B0604020202020204"/>
              </a:rPr>
              <a:t>Informasjonsdeling på hver enhet </a:t>
            </a:r>
            <a:br>
              <a:rPr lang="nb-NO" sz="1100" i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100" i="1">
                <a:solidFill>
                  <a:srgbClr val="000000"/>
                </a:solidFill>
                <a:latin typeface="Arial" panose="020B0604020202020204"/>
              </a:rPr>
              <a:t>tilpasset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366B66-BCE3-4FA4-BC1B-350F9D989633}"/>
              </a:ext>
            </a:extLst>
          </p:cNvPr>
          <p:cNvSpPr/>
          <p:nvPr/>
        </p:nvSpPr>
        <p:spPr>
          <a:xfrm>
            <a:off x="3594921" y="3216142"/>
            <a:ext cx="5220000" cy="12871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4A9C7F68-FB13-4CA7-A0B9-000627F06EA7}"/>
              </a:ext>
            </a:extLst>
          </p:cNvPr>
          <p:cNvSpPr txBox="1"/>
          <p:nvPr/>
        </p:nvSpPr>
        <p:spPr>
          <a:xfrm>
            <a:off x="7691325" y="3590053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3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Innspill og GAP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2">
            <p14:nvContentPartPr>
              <p14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14:cNvPr>
              <p14:cNvContentPartPr/>
              <p14:nvPr/>
            </p14:nvContentPartPr>
            <p14:xfrm>
              <a:off x="8537359" y="3169109"/>
              <a:ext cx="360" cy="360"/>
            </p14:xfrm>
          </p:contentPart>
        </mc:Choice>
        <mc:Fallback xmlns="">
          <p:pic>
            <p:nvPicPr>
              <p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519359" y="3061109"/>
                <a:ext cx="36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4">
            <p14:nvContentPartPr>
              <p14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14:cNvPr>
              <p14:cNvContentPartPr/>
              <p14:nvPr/>
            </p14:nvContentPartPr>
            <p14:xfrm>
              <a:off x="8528719" y="3006749"/>
              <a:ext cx="360" cy="360"/>
            </p14:xfrm>
          </p:contentPart>
        </mc:Choice>
        <mc:Fallback xmlns="">
          <p:pic>
            <p:nvPicPr>
              <p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510719" y="2898749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243" name="Oval 242">
            <a:extLst>
              <a:ext uri="{FF2B5EF4-FFF2-40B4-BE49-F238E27FC236}">
                <a16:creationId xmlns:a16="http://schemas.microsoft.com/office/drawing/2014/main" id="{2DA0CF68-2560-423C-8C81-976983C08322}"/>
              </a:ext>
            </a:extLst>
          </p:cNvPr>
          <p:cNvSpPr/>
          <p:nvPr/>
        </p:nvSpPr>
        <p:spPr>
          <a:xfrm>
            <a:off x="3306260" y="2922895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5" name="Graphic 24" descr="Play">
            <a:extLst>
              <a:ext uri="{FF2B5EF4-FFF2-40B4-BE49-F238E27FC236}">
                <a16:creationId xmlns:a16="http://schemas.microsoft.com/office/drawing/2014/main" id="{3BD01020-E300-4676-95A8-6E075C4703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387787" y="2983429"/>
            <a:ext cx="541344" cy="54134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EEBF155-478B-49E3-960C-573F0BA64423}"/>
              </a:ext>
            </a:extLst>
          </p:cNvPr>
          <p:cNvSpPr/>
          <p:nvPr/>
        </p:nvSpPr>
        <p:spPr>
          <a:xfrm>
            <a:off x="4481135" y="3380399"/>
            <a:ext cx="3406703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000" i="1">
                <a:solidFill>
                  <a:srgbClr val="000000"/>
                </a:solidFill>
                <a:latin typeface="Arial" panose="020B0604020202020204"/>
                <a:sym typeface="+mn-lt"/>
              </a:rPr>
              <a:t>Foreløpig GAP-analyse samt innspill på fremlagt løsning </a:t>
            </a:r>
            <a:br>
              <a:rPr lang="nb-NO" altLang="en-US" sz="1000" i="1">
                <a:latin typeface="Arial" panose="020B0604020202020204"/>
              </a:rPr>
            </a:br>
            <a:r>
              <a:rPr lang="nb-NO" altLang="en-US" sz="1000" i="1">
                <a:solidFill>
                  <a:srgbClr val="000000"/>
                </a:solidFill>
                <a:latin typeface="Arial" panose="020B0604020202020204"/>
                <a:sym typeface="+mn-lt"/>
              </a:rPr>
              <a:t>gjennomføres på hver enhet.</a:t>
            </a:r>
            <a:endParaRPr lang="nb-NO" altLang="en-US" sz="1000" i="1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9BB55570-535E-484F-93AA-CEE2C5D21CAB}"/>
              </a:ext>
            </a:extLst>
          </p:cNvPr>
          <p:cNvSpPr txBox="1"/>
          <p:nvPr/>
        </p:nvSpPr>
        <p:spPr>
          <a:xfrm>
            <a:off x="2789069" y="3590054"/>
            <a:ext cx="1692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3.03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Oppstart arbeid med innspill og foreløpig gap-analys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DF23C3C0-B449-4C2D-A54A-952100173095}"/>
              </a:ext>
            </a:extLst>
          </p:cNvPr>
          <p:cNvGrpSpPr/>
          <p:nvPr/>
        </p:nvGrpSpPr>
        <p:grpSpPr>
          <a:xfrm>
            <a:off x="4480188" y="5144414"/>
            <a:ext cx="657685" cy="657685"/>
            <a:chOff x="8741171" y="905839"/>
            <a:chExt cx="657685" cy="657685"/>
          </a:xfrm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D1623C37-0E83-4EC3-A80D-C13A289B380E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8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0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FB255929-7554-40DA-96C5-312197357A85}"/>
              </a:ext>
            </a:extLst>
          </p:cNvPr>
          <p:cNvSpPr txBox="1"/>
          <p:nvPr/>
        </p:nvSpPr>
        <p:spPr>
          <a:xfrm>
            <a:off x="3811803" y="5857354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08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Administrativt lederforum</a:t>
            </a:r>
            <a:endParaRPr lang="en-US" sz="2400"/>
          </a:p>
        </p:txBody>
      </p: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F68634D5-2A02-4B14-8224-AE45AFC273A0}"/>
              </a:ext>
            </a:extLst>
          </p:cNvPr>
          <p:cNvGrpSpPr/>
          <p:nvPr/>
        </p:nvGrpSpPr>
        <p:grpSpPr>
          <a:xfrm>
            <a:off x="9381607" y="5096151"/>
            <a:ext cx="657685" cy="657685"/>
            <a:chOff x="8741171" y="905839"/>
            <a:chExt cx="657685" cy="657685"/>
          </a:xfrm>
        </p:grpSpPr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EE0E404B-EEEF-4647-81DE-1DB0C437806C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2">
              <p14:nvContentPartPr>
                <p14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61" name="TextBox 260">
            <a:extLst>
              <a:ext uri="{FF2B5EF4-FFF2-40B4-BE49-F238E27FC236}">
                <a16:creationId xmlns:a16="http://schemas.microsoft.com/office/drawing/2014/main" id="{90036A12-10A3-43DF-837A-CAC5B0B1B80B}"/>
              </a:ext>
            </a:extLst>
          </p:cNvPr>
          <p:cNvSpPr txBox="1"/>
          <p:nvPr/>
        </p:nvSpPr>
        <p:spPr>
          <a:xfrm>
            <a:off x="8845165" y="5729462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0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Styringsgruppe tentativ behandling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281" name="Isosceles Triangle 280">
            <a:extLst>
              <a:ext uri="{FF2B5EF4-FFF2-40B4-BE49-F238E27FC236}">
                <a16:creationId xmlns:a16="http://schemas.microsoft.com/office/drawing/2014/main" id="{6024E9BD-9F95-40C6-A319-6049447BDF15}"/>
              </a:ext>
            </a:extLst>
          </p:cNvPr>
          <p:cNvSpPr/>
          <p:nvPr/>
        </p:nvSpPr>
        <p:spPr>
          <a:xfrm>
            <a:off x="8173009" y="2319816"/>
            <a:ext cx="540000" cy="54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38" name="Graphic 37" descr="Line arrow Clockwise curve">
            <a:extLst>
              <a:ext uri="{FF2B5EF4-FFF2-40B4-BE49-F238E27FC236}">
                <a16:creationId xmlns:a16="http://schemas.microsoft.com/office/drawing/2014/main" id="{95FAF6AE-7970-4153-AFBD-6657B0ADB68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 rot="3527850" flipV="1">
            <a:off x="8797767" y="2178356"/>
            <a:ext cx="623207" cy="98667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F5E8DE7-542B-49DB-B0B3-FA7D7F3DF45E}"/>
              </a:ext>
            </a:extLst>
          </p:cNvPr>
          <p:cNvSpPr txBox="1"/>
          <p:nvPr/>
        </p:nvSpPr>
        <p:spPr>
          <a:xfrm>
            <a:off x="9589284" y="2166375"/>
            <a:ext cx="22435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Om formell behandling og innspill fører til store endringer i løsning vil det bli innhentet en oppdatert gap-analyse etter beslutningspunktet 27.0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C0523A-FA4C-439E-B1DB-399E8CA726BA}"/>
              </a:ext>
            </a:extLst>
          </p:cNvPr>
          <p:cNvSpPr txBox="1"/>
          <p:nvPr/>
        </p:nvSpPr>
        <p:spPr>
          <a:xfrm>
            <a:off x="4962396" y="2645895"/>
            <a:ext cx="2184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sz="1400" b="1">
                <a:solidFill>
                  <a:srgbClr val="000000"/>
                </a:solidFill>
                <a:latin typeface="Arial" panose="020B0604020202020204"/>
              </a:rPr>
              <a:t>Gap-analyse og innspill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5380C2D-3334-4F96-9EDA-FF0E4CDF801B}"/>
              </a:ext>
            </a:extLst>
          </p:cNvPr>
          <p:cNvGrpSpPr/>
          <p:nvPr/>
        </p:nvGrpSpPr>
        <p:grpSpPr>
          <a:xfrm>
            <a:off x="10914952" y="5138268"/>
            <a:ext cx="657685" cy="657685"/>
            <a:chOff x="8741171" y="905839"/>
            <a:chExt cx="657685" cy="657685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9C862CCA-D97A-4F26-B963-94EC3C9A6CDF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8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0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91" name="Graphic 90" descr="Users">
            <a:extLst>
              <a:ext uri="{FF2B5EF4-FFF2-40B4-BE49-F238E27FC236}">
                <a16:creationId xmlns:a16="http://schemas.microsoft.com/office/drawing/2014/main" id="{E64BDAA3-B0F2-4DA3-A14A-EDE6CA6AD10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973123" y="5187375"/>
            <a:ext cx="541344" cy="541344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10C72F0-94CD-4481-B4FC-6494905DBB00}"/>
              </a:ext>
            </a:extLst>
          </p:cNvPr>
          <p:cNvSpPr txBox="1"/>
          <p:nvPr/>
        </p:nvSpPr>
        <p:spPr>
          <a:xfrm>
            <a:off x="10397761" y="5845062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7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Styringsgrupp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Flowchart: Decision 92">
            <a:extLst>
              <a:ext uri="{FF2B5EF4-FFF2-40B4-BE49-F238E27FC236}">
                <a16:creationId xmlns:a16="http://schemas.microsoft.com/office/drawing/2014/main" id="{55BFD3AF-9CDA-4421-B456-38FEB4371708}"/>
              </a:ext>
            </a:extLst>
          </p:cNvPr>
          <p:cNvSpPr/>
          <p:nvPr/>
        </p:nvSpPr>
        <p:spPr>
          <a:xfrm>
            <a:off x="10977947" y="4500631"/>
            <a:ext cx="540000" cy="54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2668045-6FD3-412A-8061-A84C7E4BAD9D}"/>
              </a:ext>
            </a:extLst>
          </p:cNvPr>
          <p:cNvGrpSpPr/>
          <p:nvPr/>
        </p:nvGrpSpPr>
        <p:grpSpPr>
          <a:xfrm rot="20245120">
            <a:off x="8491988" y="3228631"/>
            <a:ext cx="1334520" cy="2124360"/>
            <a:chOff x="7328130" y="3229074"/>
            <a:chExt cx="1334520" cy="2124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4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14:cNvPr>
                <p14:cNvContentPartPr/>
                <p14:nvPr/>
              </p14:nvContentPartPr>
              <p14:xfrm>
                <a:off x="7509930" y="3229074"/>
                <a:ext cx="1152720" cy="2010240"/>
              </p14:xfrm>
            </p:contentPart>
          </mc:Choice>
          <mc:Fallback xmlns=""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7491930" y="3211074"/>
                  <a:ext cx="1188360" cy="20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46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14:cNvPr>
                <p14:cNvContentPartPr/>
                <p14:nvPr/>
              </p14:nvContentPartPr>
              <p14:xfrm>
                <a:off x="7328130" y="4969674"/>
                <a:ext cx="345960" cy="383760"/>
              </p14:xfrm>
            </p:contentPart>
          </mc:Choice>
          <mc:Fallback xmlns=""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7310130" y="4951674"/>
                  <a:ext cx="381600" cy="4194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225A5BF2-8A52-490F-9F9B-EB70D62BAC0E}"/>
              </a:ext>
            </a:extLst>
          </p:cNvPr>
          <p:cNvSpPr/>
          <p:nvPr/>
        </p:nvSpPr>
        <p:spPr>
          <a:xfrm>
            <a:off x="9249923" y="3797961"/>
            <a:ext cx="743679" cy="74367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98" name="Graphic 97" descr="Document">
            <a:extLst>
              <a:ext uri="{FF2B5EF4-FFF2-40B4-BE49-F238E27FC236}">
                <a16:creationId xmlns:a16="http://schemas.microsoft.com/office/drawing/2014/main" id="{CDEA96E2-B719-491E-B209-B5C2757095DA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296104" y="3811903"/>
            <a:ext cx="684077" cy="68407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50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14:cNvPr>
              <p14:cNvContentPartPr/>
              <p14:nvPr/>
            </p14:nvContentPartPr>
            <p14:xfrm>
              <a:off x="11454703" y="4290812"/>
              <a:ext cx="360" cy="360"/>
            </p14:xfrm>
          </p:contentPart>
        </mc:Choice>
        <mc:Fallback xmlns=""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:cNvPr>
              <p:cNvPicPr/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11436703" y="4182812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100" name="TextBox 99">
            <a:extLst>
              <a:ext uri="{FF2B5EF4-FFF2-40B4-BE49-F238E27FC236}">
                <a16:creationId xmlns:a16="http://schemas.microsoft.com/office/drawing/2014/main" id="{4AC4BA92-B875-415E-9E58-8C319A552790}"/>
              </a:ext>
            </a:extLst>
          </p:cNvPr>
          <p:cNvSpPr txBox="1"/>
          <p:nvPr/>
        </p:nvSpPr>
        <p:spPr>
          <a:xfrm>
            <a:off x="9796714" y="3458836"/>
            <a:ext cx="3992127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nspillene går inn i</a:t>
            </a:r>
            <a:br>
              <a:rPr lang="nb-NO" sz="1200"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n videre behandlingen</a:t>
            </a: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AF342B96-C718-436B-9E18-8DCD75315036}"/>
              </a:ext>
            </a:extLst>
          </p:cNvPr>
          <p:cNvSpPr/>
          <p:nvPr/>
        </p:nvSpPr>
        <p:spPr>
          <a:xfrm>
            <a:off x="8240056" y="2951656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3" name="Graphic 22" descr="Flag">
            <a:extLst>
              <a:ext uri="{FF2B5EF4-FFF2-40B4-BE49-F238E27FC236}">
                <a16:creationId xmlns:a16="http://schemas.microsoft.com/office/drawing/2014/main" id="{09ADA1E3-3C5E-44CA-B21F-174EAF4B313B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8344683" y="3007824"/>
            <a:ext cx="545349" cy="545349"/>
          </a:xfrm>
          <a:prstGeom prst="rect">
            <a:avLst/>
          </a:prstGeom>
        </p:spPr>
      </p:pic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6B1ABC4-77A8-40E0-8393-85C531C6D4E2}"/>
              </a:ext>
            </a:extLst>
          </p:cNvPr>
          <p:cNvGrpSpPr/>
          <p:nvPr/>
        </p:nvGrpSpPr>
        <p:grpSpPr>
          <a:xfrm>
            <a:off x="6000251" y="5139591"/>
            <a:ext cx="657685" cy="657685"/>
            <a:chOff x="8741171" y="905839"/>
            <a:chExt cx="657685" cy="657685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6B45116C-E3B1-4E52-A267-6F15B5FC938F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4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ACE3C5B3-8E8C-40FF-A0E8-3ECB723D088E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ACE3C5B3-8E8C-40FF-A0E8-3ECB723D088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6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0C064261-FB3D-4E32-BDF4-FDD3DB350B9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0C064261-FB3D-4E32-BDF4-FDD3DB350B94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07" name="Graphic 106" descr="Users">
            <a:extLst>
              <a:ext uri="{FF2B5EF4-FFF2-40B4-BE49-F238E27FC236}">
                <a16:creationId xmlns:a16="http://schemas.microsoft.com/office/drawing/2014/main" id="{A1BD0597-9656-4ADC-9D48-8EE2513B278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6042710" y="5181971"/>
            <a:ext cx="566861" cy="578325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5DB2A181-E364-4F61-A80A-B43D84CEEA79}"/>
              </a:ext>
            </a:extLst>
          </p:cNvPr>
          <p:cNvSpPr txBox="1"/>
          <p:nvPr/>
        </p:nvSpPr>
        <p:spPr>
          <a:xfrm>
            <a:off x="5455284" y="5858005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2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Styringsgrupp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pic>
        <p:nvPicPr>
          <p:cNvPr id="109" name="Graphic 108" descr="Users">
            <a:extLst>
              <a:ext uri="{FF2B5EF4-FFF2-40B4-BE49-F238E27FC236}">
                <a16:creationId xmlns:a16="http://schemas.microsoft.com/office/drawing/2014/main" id="{1EB22E4A-843F-4BA9-B015-6B9D76CD18E8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9430487" y="5182404"/>
            <a:ext cx="566861" cy="5097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E0FE2D9-69FA-41A2-A783-57931A50FDCD}"/>
              </a:ext>
            </a:extLst>
          </p:cNvPr>
          <p:cNvSpPr/>
          <p:nvPr/>
        </p:nvSpPr>
        <p:spPr>
          <a:xfrm>
            <a:off x="10397762" y="4155072"/>
            <a:ext cx="18966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orslag til prosjekteier</a:t>
            </a:r>
          </a:p>
        </p:txBody>
      </p:sp>
      <p:sp>
        <p:nvSpPr>
          <p:cNvPr id="101" name="TextBox 253">
            <a:extLst>
              <a:ext uri="{FF2B5EF4-FFF2-40B4-BE49-F238E27FC236}">
                <a16:creationId xmlns:a16="http://schemas.microsoft.com/office/drawing/2014/main" id="{6294C9B4-B667-4ABD-A4AD-B07E4B47D450}"/>
              </a:ext>
            </a:extLst>
          </p:cNvPr>
          <p:cNvSpPr txBox="1"/>
          <p:nvPr/>
        </p:nvSpPr>
        <p:spPr>
          <a:xfrm>
            <a:off x="2195626" y="5826626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6.03</a:t>
            </a:r>
            <a:br>
              <a:rPr lang="nb-NO" altLang="en-US" sz="1200" b="1">
                <a:latin typeface="Arial" panose="020B0604020202020204"/>
              </a:rPr>
            </a:br>
            <a:r>
              <a:rPr lang="nb-NO" altLang="en-US" sz="1200">
                <a:cs typeface="Arial"/>
              </a:rPr>
              <a:t>SESAM</a:t>
            </a:r>
          </a:p>
        </p:txBody>
      </p:sp>
      <p:grpSp>
        <p:nvGrpSpPr>
          <p:cNvPr id="102" name="Group 251">
            <a:extLst>
              <a:ext uri="{FF2B5EF4-FFF2-40B4-BE49-F238E27FC236}">
                <a16:creationId xmlns:a16="http://schemas.microsoft.com/office/drawing/2014/main" id="{A7CA930B-2C59-41EF-B4A4-2D5728F5DDB3}"/>
              </a:ext>
            </a:extLst>
          </p:cNvPr>
          <p:cNvGrpSpPr/>
          <p:nvPr/>
        </p:nvGrpSpPr>
        <p:grpSpPr>
          <a:xfrm>
            <a:off x="2907026" y="5125978"/>
            <a:ext cx="657685" cy="657685"/>
            <a:chOff x="8741171" y="905839"/>
            <a:chExt cx="657685" cy="657685"/>
          </a:xfrm>
        </p:grpSpPr>
        <p:sp>
          <p:nvSpPr>
            <p:cNvPr id="110" name="Oval 254">
              <a:extLst>
                <a:ext uri="{FF2B5EF4-FFF2-40B4-BE49-F238E27FC236}">
                  <a16:creationId xmlns:a16="http://schemas.microsoft.com/office/drawing/2014/main" id="{78431F9C-2B92-4DD2-9364-EACFE0788F03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9">
              <p14:nvContentPartPr>
                <p14:cNvPr id="111" name="Ink 255">
                  <a:extLst>
                    <a:ext uri="{FF2B5EF4-FFF2-40B4-BE49-F238E27FC236}">
                      <a16:creationId xmlns:a16="http://schemas.microsoft.com/office/drawing/2014/main" id="{0123335E-5B60-46FB-81B5-D9107B86D84A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111" name="Ink 255">
                  <a:extLst>
                    <a:ext uri="{FF2B5EF4-FFF2-40B4-BE49-F238E27FC236}">
                      <a16:creationId xmlns:a16="http://schemas.microsoft.com/office/drawing/2014/main" id="{0123335E-5B60-46FB-81B5-D9107B86D84A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1">
              <p14:nvContentPartPr>
                <p14:cNvPr id="112" name="Ink 256">
                  <a:extLst>
                    <a:ext uri="{FF2B5EF4-FFF2-40B4-BE49-F238E27FC236}">
                      <a16:creationId xmlns:a16="http://schemas.microsoft.com/office/drawing/2014/main" id="{77162592-2664-4292-994F-BF5AB259FB1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112" name="Ink 256">
                  <a:extLst>
                    <a:ext uri="{FF2B5EF4-FFF2-40B4-BE49-F238E27FC236}">
                      <a16:creationId xmlns:a16="http://schemas.microsoft.com/office/drawing/2014/main" id="{77162592-2664-4292-994F-BF5AB259FB13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13" name="Graphic 252" descr="Users">
            <a:extLst>
              <a:ext uri="{FF2B5EF4-FFF2-40B4-BE49-F238E27FC236}">
                <a16:creationId xmlns:a16="http://schemas.microsoft.com/office/drawing/2014/main" id="{D043BF00-633C-4FDC-AC8C-2FE5855D6DB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965195" y="5168937"/>
            <a:ext cx="541344" cy="541344"/>
          </a:xfrm>
          <a:prstGeom prst="rect">
            <a:avLst/>
          </a:prstGeom>
        </p:spPr>
      </p:pic>
      <p:pic>
        <p:nvPicPr>
          <p:cNvPr id="114" name="Graphic 106" descr="Users">
            <a:extLst>
              <a:ext uri="{FF2B5EF4-FFF2-40B4-BE49-F238E27FC236}">
                <a16:creationId xmlns:a16="http://schemas.microsoft.com/office/drawing/2014/main" id="{DF34319F-F591-4091-B5DE-960EDEC3347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4524854" y="5188116"/>
            <a:ext cx="566861" cy="578325"/>
          </a:xfrm>
          <a:prstGeom prst="rect">
            <a:avLst/>
          </a:prstGeom>
        </p:spPr>
      </p:pic>
      <p:grpSp>
        <p:nvGrpSpPr>
          <p:cNvPr id="115" name="Group 251">
            <a:extLst>
              <a:ext uri="{FF2B5EF4-FFF2-40B4-BE49-F238E27FC236}">
                <a16:creationId xmlns:a16="http://schemas.microsoft.com/office/drawing/2014/main" id="{5F93A8D6-0D3C-47B8-9DEF-89F981B99268}"/>
              </a:ext>
            </a:extLst>
          </p:cNvPr>
          <p:cNvGrpSpPr/>
          <p:nvPr/>
        </p:nvGrpSpPr>
        <p:grpSpPr>
          <a:xfrm>
            <a:off x="7583492" y="5187428"/>
            <a:ext cx="657685" cy="657685"/>
            <a:chOff x="8741171" y="905839"/>
            <a:chExt cx="657685" cy="657685"/>
          </a:xfrm>
        </p:grpSpPr>
        <p:sp>
          <p:nvSpPr>
            <p:cNvPr id="116" name="Oval 254">
              <a:extLst>
                <a:ext uri="{FF2B5EF4-FFF2-40B4-BE49-F238E27FC236}">
                  <a16:creationId xmlns:a16="http://schemas.microsoft.com/office/drawing/2014/main" id="{1DE7EB80-82E7-49AE-AB50-F2CD9205DC28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3">
              <p14:nvContentPartPr>
                <p14:cNvPr id="117" name="Ink 255">
                  <a:extLst>
                    <a:ext uri="{FF2B5EF4-FFF2-40B4-BE49-F238E27FC236}">
                      <a16:creationId xmlns:a16="http://schemas.microsoft.com/office/drawing/2014/main" id="{3BDF6E86-8970-4EDE-97AE-2B578BDEA3A1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117" name="Ink 255">
                  <a:extLst>
                    <a:ext uri="{FF2B5EF4-FFF2-40B4-BE49-F238E27FC236}">
                      <a16:creationId xmlns:a16="http://schemas.microsoft.com/office/drawing/2014/main" id="{3BDF6E86-8970-4EDE-97AE-2B578BDEA3A1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5">
              <p14:nvContentPartPr>
                <p14:cNvPr id="118" name="Ink 256">
                  <a:extLst>
                    <a:ext uri="{FF2B5EF4-FFF2-40B4-BE49-F238E27FC236}">
                      <a16:creationId xmlns:a16="http://schemas.microsoft.com/office/drawing/2014/main" id="{3A622490-F820-4FEC-86D5-FBCA8CA8E145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118" name="Ink 256">
                  <a:extLst>
                    <a:ext uri="{FF2B5EF4-FFF2-40B4-BE49-F238E27FC236}">
                      <a16:creationId xmlns:a16="http://schemas.microsoft.com/office/drawing/2014/main" id="{3A622490-F820-4FEC-86D5-FBCA8CA8E145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20" name="Graphic 106" descr="Users">
            <a:extLst>
              <a:ext uri="{FF2B5EF4-FFF2-40B4-BE49-F238E27FC236}">
                <a16:creationId xmlns:a16="http://schemas.microsoft.com/office/drawing/2014/main" id="{895BC91A-3ADE-40AE-9BD4-A8E790B775D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628162" y="5237278"/>
            <a:ext cx="566861" cy="578325"/>
          </a:xfrm>
          <a:prstGeom prst="rect">
            <a:avLst/>
          </a:prstGeom>
        </p:spPr>
      </p:pic>
      <p:sp>
        <p:nvSpPr>
          <p:cNvPr id="121" name="TextBox 253">
            <a:extLst>
              <a:ext uri="{FF2B5EF4-FFF2-40B4-BE49-F238E27FC236}">
                <a16:creationId xmlns:a16="http://schemas.microsoft.com/office/drawing/2014/main" id="{4BB2045A-E214-4918-9FC2-EE57E2B1F60A}"/>
              </a:ext>
            </a:extLst>
          </p:cNvPr>
          <p:cNvSpPr txBox="1"/>
          <p:nvPr/>
        </p:nvSpPr>
        <p:spPr>
          <a:xfrm>
            <a:off x="6915109" y="5857351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6.04</a:t>
            </a:r>
            <a:br>
              <a:rPr lang="nb-NO" altLang="en-US" sz="1200" b="1">
                <a:latin typeface="Arial" panose="020B0604020202020204"/>
              </a:rPr>
            </a:br>
            <a:r>
              <a:rPr lang="nb-NO" altLang="en-US" sz="1200">
                <a:cs typeface="Arial"/>
              </a:rPr>
              <a:t>SESAM</a:t>
            </a:r>
          </a:p>
        </p:txBody>
      </p:sp>
    </p:spTree>
    <p:extLst>
      <p:ext uri="{BB962C8B-B14F-4D97-AF65-F5344CB8AC3E}">
        <p14:creationId xmlns:p14="http://schemas.microsoft.com/office/powerpoint/2010/main" val="2740952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255108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B075AD4-EA70-4A92-A2E1-68E3FE6CD5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27258023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6" y="397785"/>
            <a:ext cx="11556473" cy="1571842"/>
          </a:xfrm>
        </p:spPr>
        <p:txBody>
          <a:bodyPr/>
          <a:lstStyle/>
          <a:p>
            <a:r>
              <a:rPr lang="nb-NO"/>
              <a:t>Spørsmål og svar til løsningsforslage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070D1D-099B-4D95-BE9F-E047FA7005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6274" y="1528133"/>
            <a:ext cx="3746256" cy="433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lkommen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682997"/>
            <a:chOff x="317191" y="1620719"/>
            <a:chExt cx="3580704" cy="2682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i etterkant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236995"/>
            <a:chOff x="8406858" y="1620719"/>
            <a:chExt cx="3580704" cy="3236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Om du ikke vil være med på opptaket, må du skru av kamerae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1218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A79C09F-F1E7-4596-A50E-FEE979DFBC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1592080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3637E90-E84A-4830-AF6D-5D21F520D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502" y="1719301"/>
            <a:ext cx="11224996" cy="864683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771199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6A02AB3-FB06-43F4-886D-71707DBDC6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80955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26D478F-4401-41E6-AFB8-9390805FC8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4164149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600439"/>
          </a:xfrm>
        </p:spPr>
        <p:txBody>
          <a:bodyPr/>
          <a:lstStyle/>
          <a:p>
            <a:r>
              <a:rPr lang="nb-NO"/>
              <a:t>Mål for dagen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90" indent="-380990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6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85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09" y="1075543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905756" y="1219200"/>
            <a:ext cx="6775731" cy="474732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447766" y="2561789"/>
            <a:ext cx="6121108" cy="164154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nb-NO" sz="2667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Gi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om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for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Behov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til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betaling</a:t>
            </a:r>
            <a:endParaRPr lang="en-US" sz="24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Svare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ut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spørsmål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til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et</a:t>
            </a:r>
            <a:endParaRPr lang="en-US" sz="24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802344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4CD25C5-D328-4BA5-AB2C-C11904CDBA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772177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ECB5CA-CF15-4658-9360-E501D923FD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ECB5CA-CF15-4658-9360-E501D923F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Table 19">
            <a:extLst>
              <a:ext uri="{FF2B5EF4-FFF2-40B4-BE49-F238E27FC236}">
                <a16:creationId xmlns:a16="http://schemas.microsoft.com/office/drawing/2014/main" id="{DFEE4284-E8AA-47E9-9AC9-0544BE08E79C}"/>
              </a:ext>
            </a:extLst>
          </p:cNvPr>
          <p:cNvGraphicFramePr>
            <a:graphicFrameLocks noGrp="1"/>
          </p:cNvGraphicFramePr>
          <p:nvPr/>
        </p:nvGraphicFramePr>
        <p:xfrm>
          <a:off x="480716" y="1288988"/>
          <a:ext cx="11154385" cy="5414588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30877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i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On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o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Fred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60697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437789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Kunnskapsgrunnlag og workshop med referanseteam</a:t>
                      </a: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Konkrete løsningsforslag per fokusområ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ioritere 2-3 forslag per fokusområd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og workshop med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OK fra operativ prosesseier</a:t>
                      </a:r>
                      <a:endParaRPr lang="nb-NO" sz="15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(Intervjuobjekter/</a:t>
                      </a:r>
                      <a:br>
                        <a:rPr lang="nb-NO" sz="15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fokusgrupper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Operativ prosessei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(Intervjuobjekter/</a:t>
                      </a:r>
                      <a:br>
                        <a:rPr lang="nb-NO" sz="1500"/>
                      </a:br>
                      <a:r>
                        <a:rPr lang="nb-NO" sz="1500"/>
                        <a:t>fokusgrupper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50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EEFB180-BD44-4751-9480-146FF0D04EF8}"/>
              </a:ext>
            </a:extLst>
          </p:cNvPr>
          <p:cNvGrpSpPr/>
          <p:nvPr/>
        </p:nvGrpSpPr>
        <p:grpSpPr>
          <a:xfrm>
            <a:off x="556901" y="1729268"/>
            <a:ext cx="10773249" cy="1482557"/>
            <a:chOff x="-389322" y="2070835"/>
            <a:chExt cx="9846530" cy="1301430"/>
          </a:xfrm>
        </p:grpSpPr>
        <p:pic>
          <p:nvPicPr>
            <p:cNvPr id="20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E760B286-2E02-4004-8322-5CCF19042A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F6E211A6-6CA8-40C3-B362-49A35B5F36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A629F67-3E57-4725-A411-585B4E4859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F4B0431-A06E-4727-B2E9-3016B36918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1BEDF98D-D775-4D39-AEF5-8EA62DF6A6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D40CC-6DF6-42E2-A3EC-C37A9AABE627}"/>
              </a:ext>
            </a:extLst>
          </p:cNvPr>
          <p:cNvSpPr/>
          <p:nvPr/>
        </p:nvSpPr>
        <p:spPr>
          <a:xfrm rot="20869639">
            <a:off x="288470" y="4956180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27E93-8357-4D24-B91D-5B5386F4DEDB}"/>
              </a:ext>
            </a:extLst>
          </p:cNvPr>
          <p:cNvSpPr/>
          <p:nvPr/>
        </p:nvSpPr>
        <p:spPr>
          <a:xfrm rot="20973762">
            <a:off x="287858" y="3519394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DBB257-29F1-4F8F-847F-A0C13E8F75C5}"/>
              </a:ext>
            </a:extLst>
          </p:cNvPr>
          <p:cNvSpPr txBox="1">
            <a:spLocks/>
          </p:cNvSpPr>
          <p:nvPr/>
        </p:nvSpPr>
        <p:spPr>
          <a:xfrm>
            <a:off x="2599304" y="6410084"/>
            <a:ext cx="6993395" cy="368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b-NO" sz="1600" b="1"/>
              <a:t>Formål: utarbeide løsningsforslag til identifiserte </a:t>
            </a:r>
            <a:r>
              <a:rPr lang="nb-NO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fokusområder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EBFEDF6-A3E6-44F2-A1D2-8EC0C06F8FE9}"/>
              </a:ext>
            </a:extLst>
          </p:cNvPr>
          <p:cNvSpPr txBox="1">
            <a:spLocks/>
          </p:cNvSpPr>
          <p:nvPr/>
        </p:nvSpPr>
        <p:spPr>
          <a:xfrm>
            <a:off x="401847" y="397785"/>
            <a:ext cx="11224996" cy="49244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3200"/>
              <a:t>Design Sprint</a:t>
            </a:r>
          </a:p>
        </p:txBody>
      </p:sp>
    </p:spTree>
    <p:extLst>
      <p:ext uri="{BB962C8B-B14F-4D97-AF65-F5344CB8AC3E}">
        <p14:creationId xmlns:p14="http://schemas.microsoft.com/office/powerpoint/2010/main" val="308963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76037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FAC92C-845D-43D8-811B-18EC22D95A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161630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A0FDF1-7235-417E-BC0A-26169D68B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A0FDF1-7235-417E-BC0A-26169D68B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70A0C0-E07F-4550-A35B-2922C63DBD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24F17-B347-4FED-A589-2AEA67BC68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2901876"/>
            <a:ext cx="10363200" cy="1663848"/>
          </a:xfrm>
        </p:spPr>
        <p:txBody>
          <a:bodyPr anchor="t">
            <a:normAutofit/>
          </a:bodyPr>
          <a:lstStyle/>
          <a:p>
            <a:r>
              <a:rPr lang="nb-NO" sz="2400" i="1">
                <a:solidFill>
                  <a:schemeClr val="tx1"/>
                </a:solidFill>
              </a:rPr>
              <a:t>Med utgangspunkt i rollebeskrivelsene fra BOTT, hvordan kan NTNU organisere rollene «Fagrekvirent», «Innkjøper» og «Anskaffelsesrådgiver» for å sikre best mulig understøttelse av kjernevirksomheten?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A4ED9-7A26-44E5-BE13-7412CAF85B3B}"/>
              </a:ext>
            </a:extLst>
          </p:cNvPr>
          <p:cNvSpPr txBox="1">
            <a:spLocks/>
          </p:cNvSpPr>
          <p:nvPr/>
        </p:nvSpPr>
        <p:spPr>
          <a:xfrm>
            <a:off x="1537855" y="3980857"/>
            <a:ext cx="9421091" cy="13750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18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nb-NO" sz="2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383C11-B3B0-4B12-8419-5EBB9DD3C6CE}"/>
              </a:ext>
            </a:extLst>
          </p:cNvPr>
          <p:cNvSpPr txBox="1"/>
          <p:nvPr/>
        </p:nvSpPr>
        <p:spPr>
          <a:xfrm>
            <a:off x="1057275" y="809625"/>
            <a:ext cx="83248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400"/>
              <a:t>Fokusområder i designsprint</a:t>
            </a:r>
          </a:p>
        </p:txBody>
      </p:sp>
    </p:spTree>
    <p:extLst>
      <p:ext uri="{BB962C8B-B14F-4D97-AF65-F5344CB8AC3E}">
        <p14:creationId xmlns:p14="http://schemas.microsoft.com/office/powerpoint/2010/main" val="3542399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4mU37.knbaXVJcWwtx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MPsl6POnMsz.2HJs8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Terje Ruud</DisplayName>
        <AccountId>65</AccountId>
        <AccountType/>
      </UserInfo>
    </SharedWithUsers>
  </documentManagement>
</p:properties>
</file>

<file path=customXml/item25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01E8759C-33B8-4AFE-B1FD-690677E2D93B}">
  <ds:schemaRefs/>
</ds:datastoreItem>
</file>

<file path=customXml/itemProps10.xml><?xml version="1.0" encoding="utf-8"?>
<ds:datastoreItem xmlns:ds="http://schemas.openxmlformats.org/officeDocument/2006/customXml" ds:itemID="{33A9D2B1-910A-4890-A149-E85A43544B5D}">
  <ds:schemaRefs/>
</ds:datastoreItem>
</file>

<file path=customXml/itemProps11.xml><?xml version="1.0" encoding="utf-8"?>
<ds:datastoreItem xmlns:ds="http://schemas.openxmlformats.org/officeDocument/2006/customXml" ds:itemID="{69833386-C3FC-491F-A8BC-A7290A9D5D57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EE03465F-F7D7-4591-B744-AA3FB7C55319}">
  <ds:schemaRefs/>
</ds:datastoreItem>
</file>

<file path=customXml/itemProps13.xml><?xml version="1.0" encoding="utf-8"?>
<ds:datastoreItem xmlns:ds="http://schemas.openxmlformats.org/officeDocument/2006/customXml" ds:itemID="{4212848C-530B-4852-8730-679B69C20DA2}">
  <ds:schemaRefs/>
</ds:datastoreItem>
</file>

<file path=customXml/itemProps14.xml><?xml version="1.0" encoding="utf-8"?>
<ds:datastoreItem xmlns:ds="http://schemas.openxmlformats.org/officeDocument/2006/customXml" ds:itemID="{73E560EA-D040-407D-89F2-11DBB1CFF549}">
  <ds:schemaRefs/>
</ds:datastoreItem>
</file>

<file path=customXml/itemProps15.xml><?xml version="1.0" encoding="utf-8"?>
<ds:datastoreItem xmlns:ds="http://schemas.openxmlformats.org/officeDocument/2006/customXml" ds:itemID="{70F4ED2E-503E-45E3-825C-9B04A23593EA}">
  <ds:schemaRefs/>
</ds:datastoreItem>
</file>

<file path=customXml/itemProps16.xml><?xml version="1.0" encoding="utf-8"?>
<ds:datastoreItem xmlns:ds="http://schemas.openxmlformats.org/officeDocument/2006/customXml" ds:itemID="{E3206C3F-9075-4ED1-A9D7-768CD599C06F}">
  <ds:schemaRefs/>
</ds:datastoreItem>
</file>

<file path=customXml/itemProps17.xml><?xml version="1.0" encoding="utf-8"?>
<ds:datastoreItem xmlns:ds="http://schemas.openxmlformats.org/officeDocument/2006/customXml" ds:itemID="{D49E55AD-80F4-4EC9-8430-FD8E8D9201DC}">
  <ds:schemaRefs/>
</ds:datastoreItem>
</file>

<file path=customXml/itemProps18.xml><?xml version="1.0" encoding="utf-8"?>
<ds:datastoreItem xmlns:ds="http://schemas.openxmlformats.org/officeDocument/2006/customXml" ds:itemID="{B8637C36-4996-4BF0-9817-9AE4E45FB3C9}">
  <ds:schemaRefs/>
</ds:datastoreItem>
</file>

<file path=customXml/itemProps19.xml><?xml version="1.0" encoding="utf-8"?>
<ds:datastoreItem xmlns:ds="http://schemas.openxmlformats.org/officeDocument/2006/customXml" ds:itemID="{48FCFEE4-2E78-40CD-A932-180CFC151F96}">
  <ds:schemaRefs/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A010FBFC-ED9D-4776-849D-81EABF9D112A}">
  <ds:schemaRefs/>
</ds:datastoreItem>
</file>

<file path=customXml/itemProps21.xml><?xml version="1.0" encoding="utf-8"?>
<ds:datastoreItem xmlns:ds="http://schemas.openxmlformats.org/officeDocument/2006/customXml" ds:itemID="{98A6CD30-0308-49AC-9087-7CF9A48AE377}">
  <ds:schemaRefs/>
</ds:datastoreItem>
</file>

<file path=customXml/itemProps22.xml><?xml version="1.0" encoding="utf-8"?>
<ds:datastoreItem xmlns:ds="http://schemas.openxmlformats.org/officeDocument/2006/customXml" ds:itemID="{B25CBE9C-579C-4D62-9791-670FFEF0C740}">
  <ds:schemaRefs/>
</ds:datastoreItem>
</file>

<file path=customXml/itemProps23.xml><?xml version="1.0" encoding="utf-8"?>
<ds:datastoreItem xmlns:ds="http://schemas.openxmlformats.org/officeDocument/2006/customXml" ds:itemID="{EBD3D5FB-AEE0-46A7-8289-818A621CDF36}">
  <ds:schemaRefs/>
</ds:datastoreItem>
</file>

<file path=customXml/itemProps24.xml><?xml version="1.0" encoding="utf-8"?>
<ds:datastoreItem xmlns:ds="http://schemas.openxmlformats.org/officeDocument/2006/customXml" ds:itemID="{BA05E49B-70B5-4FEC-89D5-F69F52BE5B8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http://schemas.openxmlformats.org/package/2006/metadata/core-properties"/>
    <ds:schemaRef ds:uri="5a015d52-1a8c-45a9-b108-712092158594"/>
    <ds:schemaRef ds:uri="http://www.w3.org/XML/1998/namespace"/>
    <ds:schemaRef ds:uri="http://purl.org/dc/dcmitype/"/>
  </ds:schemaRefs>
</ds:datastoreItem>
</file>

<file path=customXml/itemProps25.xml><?xml version="1.0" encoding="utf-8"?>
<ds:datastoreItem xmlns:ds="http://schemas.openxmlformats.org/officeDocument/2006/customXml" ds:itemID="{8E03B1FE-5A29-4B9A-A972-F98BDD2B0EBD}">
  <ds:schemaRefs/>
</ds:datastoreItem>
</file>

<file path=customXml/itemProps3.xml><?xml version="1.0" encoding="utf-8"?>
<ds:datastoreItem xmlns:ds="http://schemas.openxmlformats.org/officeDocument/2006/customXml" ds:itemID="{D095A0A8-BBFC-46BD-B6C9-F9F771063A0C}">
  <ds:schemaRefs/>
</ds:datastoreItem>
</file>

<file path=customXml/itemProps4.xml><?xml version="1.0" encoding="utf-8"?>
<ds:datastoreItem xmlns:ds="http://schemas.openxmlformats.org/officeDocument/2006/customXml" ds:itemID="{8F10D2E3-BD5E-41A7-9B58-448C4704E426}">
  <ds:schemaRefs/>
</ds:datastoreItem>
</file>

<file path=customXml/itemProps5.xml><?xml version="1.0" encoding="utf-8"?>
<ds:datastoreItem xmlns:ds="http://schemas.openxmlformats.org/officeDocument/2006/customXml" ds:itemID="{6FF40517-EACA-4151-AD5E-9DA157F97D3E}">
  <ds:schemaRefs/>
</ds:datastoreItem>
</file>

<file path=customXml/itemProps6.xml><?xml version="1.0" encoding="utf-8"?>
<ds:datastoreItem xmlns:ds="http://schemas.openxmlformats.org/officeDocument/2006/customXml" ds:itemID="{74DD7968-5338-4A7C-9AB7-71E317FAD14A}">
  <ds:schemaRefs/>
</ds:datastoreItem>
</file>

<file path=customXml/itemProps7.xml><?xml version="1.0" encoding="utf-8"?>
<ds:datastoreItem xmlns:ds="http://schemas.openxmlformats.org/officeDocument/2006/customXml" ds:itemID="{05CE1C0B-C62A-4B0F-9450-074B2157624B}">
  <ds:schemaRefs/>
</ds:datastoreItem>
</file>

<file path=customXml/itemProps8.xml><?xml version="1.0" encoding="utf-8"?>
<ds:datastoreItem xmlns:ds="http://schemas.openxmlformats.org/officeDocument/2006/customXml" ds:itemID="{4F0973CE-DD7E-41E5-9BA9-A6B1157D5082}">
  <ds:schemaRefs/>
</ds:datastoreItem>
</file>

<file path=customXml/itemProps9.xml><?xml version="1.0" encoding="utf-8"?>
<ds:datastoreItem xmlns:ds="http://schemas.openxmlformats.org/officeDocument/2006/customXml" ds:itemID="{6C87A078-5F40-4D7F-9BEF-6750FB94DC6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61</Words>
  <Application>Microsoft Office PowerPoint</Application>
  <PresentationFormat>Widescreen</PresentationFormat>
  <Paragraphs>301</Paragraphs>
  <Slides>21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Arial (body)</vt:lpstr>
      <vt:lpstr>Arial,Sans-Serif</vt:lpstr>
      <vt:lpstr>Calibri</vt:lpstr>
      <vt:lpstr>Courier New</vt:lpstr>
      <vt:lpstr>Wingdings</vt:lpstr>
      <vt:lpstr>1_Office-tema</vt:lpstr>
      <vt:lpstr>think-cell Slide</vt:lpstr>
      <vt:lpstr>Behov til betaling</vt:lpstr>
      <vt:lpstr>Velkommen!</vt:lpstr>
      <vt:lpstr>Agenda</vt:lpstr>
      <vt:lpstr>Agenda</vt:lpstr>
      <vt:lpstr>Mål for dagen </vt:lpstr>
      <vt:lpstr>Agenda</vt:lpstr>
      <vt:lpstr>PowerPoint Presentation</vt:lpstr>
      <vt:lpstr>Agenda</vt:lpstr>
      <vt:lpstr>PowerPoint Presentation</vt:lpstr>
      <vt:lpstr>To alternative løsningsforslag</vt:lpstr>
      <vt:lpstr>Løsningsforslag 1</vt:lpstr>
      <vt:lpstr>Tre eksempler på hvordan løsningsforslag 1 vil kunne ta form</vt:lpstr>
      <vt:lpstr>Løsningsforslag 2: Innkjøper på nivå 2 for hele NTNU (100%) Innkjøpere er lokalisert på nivå 2 og 1 (ikke nivå 3). Innkjøper utfører rollen i 100%-stilling, med mulighet for å innta rollen som anskaffelsesrådgiver (gitt visse kriterier). Det etableres innkjøpergrupper på nivå 1 og nivå 2</vt:lpstr>
      <vt:lpstr>PowerPoint Presentation</vt:lpstr>
      <vt:lpstr>To alternative løsningsforslag</vt:lpstr>
      <vt:lpstr>Agenda</vt:lpstr>
      <vt:lpstr>Tilbakemeldinger og forankring av forslag Behov til betaling</vt:lpstr>
      <vt:lpstr>Agenda</vt:lpstr>
      <vt:lpstr>Spørsmål og svar til løsningsforslaget</vt:lpstr>
      <vt:lpstr>Agenda</vt:lpstr>
      <vt:lpstr>Takk for deltakelsen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3</cp:revision>
  <cp:lastPrinted>2014-06-25T02:16:22Z</cp:lastPrinted>
  <dcterms:created xsi:type="dcterms:W3CDTF">2021-02-05T11:28:59Z</dcterms:created>
  <dcterms:modified xsi:type="dcterms:W3CDTF">2021-04-09T07:4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